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33"/>
  </p:notesMasterIdLst>
  <p:sldIdLst>
    <p:sldId id="256" r:id="rId5"/>
    <p:sldId id="296" r:id="rId6"/>
    <p:sldId id="406" r:id="rId7"/>
    <p:sldId id="384" r:id="rId8"/>
    <p:sldId id="284" r:id="rId9"/>
    <p:sldId id="285" r:id="rId10"/>
    <p:sldId id="433" r:id="rId11"/>
    <p:sldId id="287" r:id="rId12"/>
    <p:sldId id="434" r:id="rId13"/>
    <p:sldId id="377" r:id="rId14"/>
    <p:sldId id="416" r:id="rId15"/>
    <p:sldId id="383" r:id="rId16"/>
    <p:sldId id="414" r:id="rId17"/>
    <p:sldId id="375" r:id="rId18"/>
    <p:sldId id="379" r:id="rId19"/>
    <p:sldId id="415" r:id="rId20"/>
    <p:sldId id="417" r:id="rId21"/>
    <p:sldId id="411" r:id="rId22"/>
    <p:sldId id="418" r:id="rId23"/>
    <p:sldId id="430" r:id="rId24"/>
    <p:sldId id="431" r:id="rId25"/>
    <p:sldId id="435" r:id="rId26"/>
    <p:sldId id="436" r:id="rId27"/>
    <p:sldId id="437" r:id="rId28"/>
    <p:sldId id="439" r:id="rId29"/>
    <p:sldId id="440" r:id="rId30"/>
    <p:sldId id="441" r:id="rId31"/>
    <p:sldId id="260" r:id="rId32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oitumelo B. Semete" initials="BBS" lastIdx="6" clrIdx="0">
    <p:extLst>
      <p:ext uri="{19B8F6BF-5375-455C-9EA6-DF929625EA0E}">
        <p15:presenceInfo xmlns:p15="http://schemas.microsoft.com/office/powerpoint/2012/main" userId="S-1-5-21-2578095798-1298192849-154637157-1776" providerId="AD"/>
      </p:ext>
    </p:extLst>
  </p:cmAuthor>
  <p:cmAuthor id="2" name="Mokgadi Fafudi" initials="MF" lastIdx="3" clrIdx="1">
    <p:extLst>
      <p:ext uri="{19B8F6BF-5375-455C-9EA6-DF929625EA0E}">
        <p15:presenceInfo xmlns:p15="http://schemas.microsoft.com/office/powerpoint/2012/main" userId="S-1-5-21-2578095798-1298192849-154637157-116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7A0"/>
    <a:srgbClr val="6D6D6D"/>
    <a:srgbClr val="7B7A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28" autoAdjust="0"/>
  </p:normalViewPr>
  <p:slideViewPr>
    <p:cSldViewPr>
      <p:cViewPr varScale="1">
        <p:scale>
          <a:sx n="97" d="100"/>
          <a:sy n="97" d="100"/>
        </p:scale>
        <p:origin x="630" y="7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56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VigiFlow_Excel_19082021_055010 (version 2).xlsb]Sheet2!PivotTable5</c:name>
    <c:fmtId val="5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i="0" u="none" strike="noStrike" kern="1200" baseline="0" dirty="0">
                <a:solidFill>
                  <a:srgbClr val="52C2B7">
                    <a:lumMod val="50000"/>
                  </a:srgbClr>
                </a:solidFill>
                <a:latin typeface="+mn-lt"/>
                <a:ea typeface="+mn-ea"/>
                <a:cs typeface="+mn-cs"/>
              </a:rPr>
              <a:t>Covid-19 vaccine Janssen: </a:t>
            </a:r>
            <a:endParaRPr lang="en-ZA" sz="1400" b="1" i="0" u="none" strike="noStrike" kern="1200" baseline="0" dirty="0">
              <a:solidFill>
                <a:srgbClr val="52C2B7">
                  <a:lumMod val="50000"/>
                </a:srgbClr>
              </a:solidFill>
              <a:latin typeface="+mn-lt"/>
              <a:ea typeface="+mn-ea"/>
              <a:cs typeface="+mn-cs"/>
            </a:endParaRPr>
          </a:p>
          <a:p>
            <a:pPr>
              <a:defRPr/>
            </a:pPr>
            <a:r>
              <a:rPr lang="en-US" sz="1400" b="1" i="0" u="none" strike="noStrike" kern="1200" baseline="0" dirty="0">
                <a:solidFill>
                  <a:srgbClr val="52C2B7">
                    <a:lumMod val="50000"/>
                  </a:srgbClr>
                </a:solidFill>
                <a:latin typeface="+mn-lt"/>
                <a:ea typeface="+mn-ea"/>
                <a:cs typeface="+mn-cs"/>
              </a:rPr>
              <a:t>Common AESIs (Cumulative) classified by SOC</a:t>
            </a:r>
          </a:p>
        </c:rich>
      </c:tx>
      <c:layout>
        <c:manualLayout>
          <c:xMode val="edge"/>
          <c:yMode val="edge"/>
          <c:x val="0.25633270276744863"/>
          <c:y val="2.5431601653090248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</c:pivotFmt>
      <c:pivotFmt>
        <c:idx val="1"/>
        <c:dLbl>
          <c:idx val="0"/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gradFill rotWithShape="1">
            <a:gsLst>
              <a:gs pos="0">
                <a:schemeClr val="accent2">
                  <a:shade val="51000"/>
                  <a:satMod val="130000"/>
                </a:schemeClr>
              </a:gs>
              <a:gs pos="80000">
                <a:schemeClr val="accent2">
                  <a:shade val="93000"/>
                  <a:satMod val="130000"/>
                </a:schemeClr>
              </a:gs>
              <a:gs pos="100000">
                <a:schemeClr val="accent2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 w="9525">
              <a:solidFill>
                <a:schemeClr val="accent2"/>
              </a:solidFill>
              <a:round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gradFill rotWithShape="1">
            <a:gsLst>
              <a:gs pos="0">
                <a:schemeClr val="accent2">
                  <a:shade val="51000"/>
                  <a:satMod val="130000"/>
                </a:schemeClr>
              </a:gs>
              <a:gs pos="80000">
                <a:schemeClr val="accent2">
                  <a:shade val="93000"/>
                  <a:satMod val="130000"/>
                </a:schemeClr>
              </a:gs>
              <a:gs pos="100000">
                <a:schemeClr val="accent2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gradFill rotWithShape="1">
            <a:gsLst>
              <a:gs pos="0">
                <a:schemeClr val="accent2">
                  <a:shade val="51000"/>
                  <a:satMod val="130000"/>
                </a:schemeClr>
              </a:gs>
              <a:gs pos="80000">
                <a:schemeClr val="accent2">
                  <a:shade val="93000"/>
                  <a:satMod val="130000"/>
                </a:schemeClr>
              </a:gs>
              <a:gs pos="100000">
                <a:schemeClr val="accent2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gradFill rotWithShape="1">
            <a:gsLst>
              <a:gs pos="0">
                <a:schemeClr val="accent2">
                  <a:shade val="51000"/>
                  <a:satMod val="130000"/>
                </a:schemeClr>
              </a:gs>
              <a:gs pos="80000">
                <a:schemeClr val="accent2">
                  <a:shade val="93000"/>
                  <a:satMod val="130000"/>
                </a:schemeClr>
              </a:gs>
              <a:gs pos="100000">
                <a:schemeClr val="accent2">
                  <a:shade val="94000"/>
                  <a:satMod val="135000"/>
                </a:schemeClr>
              </a:gs>
            </a:gsLst>
            <a:lin ang="16200000" scaled="0"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2!$B$3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accent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A$4:$A$15</c:f>
              <c:strCache>
                <c:ptCount val="11"/>
                <c:pt idx="0">
                  <c:v>Blood and lymphatic system disorders</c:v>
                </c:pt>
                <c:pt idx="1">
                  <c:v>Cardiac disorders</c:v>
                </c:pt>
                <c:pt idx="2">
                  <c:v>General disorders and administration site conditions</c:v>
                </c:pt>
                <c:pt idx="3">
                  <c:v>Immune system disorders</c:v>
                </c:pt>
                <c:pt idx="4">
                  <c:v>Infections and infestations</c:v>
                </c:pt>
                <c:pt idx="5">
                  <c:v>Investigations</c:v>
                </c:pt>
                <c:pt idx="6">
                  <c:v>Nervous system disorders</c:v>
                </c:pt>
                <c:pt idx="7">
                  <c:v>Renal and urinary disorders</c:v>
                </c:pt>
                <c:pt idx="8">
                  <c:v>Respiratory, thoracic and mediastinal disorders</c:v>
                </c:pt>
                <c:pt idx="9">
                  <c:v>Skin and subcutaneous tissue disorders</c:v>
                </c:pt>
                <c:pt idx="10">
                  <c:v>Vascular disorders</c:v>
                </c:pt>
              </c:strCache>
            </c:strRef>
          </c:cat>
          <c:val>
            <c:numRef>
              <c:f>Sheet2!$B$4:$B$15</c:f>
              <c:numCache>
                <c:formatCode>General</c:formatCode>
                <c:ptCount val="11"/>
                <c:pt idx="0">
                  <c:v>2</c:v>
                </c:pt>
                <c:pt idx="1">
                  <c:v>15</c:v>
                </c:pt>
                <c:pt idx="2">
                  <c:v>48</c:v>
                </c:pt>
                <c:pt idx="3">
                  <c:v>4</c:v>
                </c:pt>
                <c:pt idx="4">
                  <c:v>14</c:v>
                </c:pt>
                <c:pt idx="5">
                  <c:v>16</c:v>
                </c:pt>
                <c:pt idx="6">
                  <c:v>62</c:v>
                </c:pt>
                <c:pt idx="7">
                  <c:v>1</c:v>
                </c:pt>
                <c:pt idx="8">
                  <c:v>48</c:v>
                </c:pt>
                <c:pt idx="9">
                  <c:v>1</c:v>
                </c:pt>
                <c:pt idx="1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67-406B-8D0E-B36DA803B78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487424304"/>
        <c:axId val="487418072"/>
      </c:barChart>
      <c:catAx>
        <c:axId val="4874243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800" b="1" i="0" u="none" strike="noStrike" kern="1200" baseline="0">
                    <a:solidFill>
                      <a:schemeClr val="accent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800" b="1">
                    <a:solidFill>
                      <a:schemeClr val="accent2">
                        <a:lumMod val="50000"/>
                      </a:schemeClr>
                    </a:solidFill>
                  </a:rPr>
                  <a:t>AESIs classified by System Organ Class (SOC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800" b="1" i="0" u="none" strike="noStrike" kern="1200" baseline="0">
                  <a:solidFill>
                    <a:schemeClr val="accent2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7418072"/>
        <c:crosses val="autoZero"/>
        <c:auto val="1"/>
        <c:lblAlgn val="ctr"/>
        <c:lblOffset val="100"/>
        <c:noMultiLvlLbl val="0"/>
      </c:catAx>
      <c:valAx>
        <c:axId val="4874180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1" i="0" u="none" strike="noStrike" kern="1200" baseline="0">
                    <a:solidFill>
                      <a:schemeClr val="accent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800" b="1">
                    <a:solidFill>
                      <a:schemeClr val="accent2">
                        <a:lumMod val="50000"/>
                      </a:schemeClr>
                    </a:solidFill>
                  </a:rPr>
                  <a:t>#Report</a:t>
                </a:r>
              </a:p>
            </c:rich>
          </c:tx>
          <c:layout>
            <c:manualLayout>
              <c:xMode val="edge"/>
              <c:yMode val="edge"/>
              <c:x val="4.683515324167116E-2"/>
              <c:y val="0.2907354206620850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1" i="0" u="none" strike="noStrike" kern="1200" baseline="0">
                  <a:solidFill>
                    <a:schemeClr val="accent2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74243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VigiFlow_Excel_19082021_092126 (version 2).xlsb]Sheet2!PivotTable19</c:name>
    <c:fmtId val="12"/>
  </c:pivotSource>
  <c:chart>
    <c:title>
      <c:tx>
        <c:rich>
          <a:bodyPr rot="0" spcFirstLastPara="1" vertOverflow="ellipsis" vert="horz" wrap="square" anchor="ctr" anchorCtr="1"/>
          <a:lstStyle/>
          <a:p>
            <a:pPr algn="ctr">
              <a:defRPr sz="2128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 i="0" u="none" strike="noStrike" kern="1200" baseline="0" dirty="0" err="1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Comirnaty</a:t>
            </a:r>
            <a:r>
              <a:rPr lang="en-US" sz="1600" b="1" i="0" u="none" strike="noStrike" kern="1200" baseline="0" dirty="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: </a:t>
            </a:r>
            <a:endParaRPr lang="en-ZA" sz="1600" b="1" i="0" u="none" strike="noStrike" kern="1200" baseline="0" dirty="0">
              <a:solidFill>
                <a:schemeClr val="accent2">
                  <a:lumMod val="50000"/>
                </a:schemeClr>
              </a:solidFill>
              <a:latin typeface="+mn-lt"/>
              <a:ea typeface="+mn-ea"/>
              <a:cs typeface="+mn-cs"/>
            </a:endParaRPr>
          </a:p>
          <a:p>
            <a:pPr algn="ctr">
              <a:defRPr/>
            </a:pPr>
            <a:r>
              <a:rPr lang="en-US" sz="1600" b="1" i="0" u="none" strike="noStrike" kern="1200" baseline="0" dirty="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Common AESIs (Cumulative) classified by SOC</a:t>
            </a:r>
            <a:endParaRPr lang="en-ZA" sz="1600" b="1" i="0" u="none" strike="noStrike" kern="1200" baseline="0" dirty="0">
              <a:solidFill>
                <a:schemeClr val="accent2">
                  <a:lumMod val="50000"/>
                </a:schemeClr>
              </a:solidFill>
              <a:latin typeface="+mn-lt"/>
              <a:ea typeface="+mn-ea"/>
              <a:cs typeface="+mn-cs"/>
            </a:endParaRPr>
          </a:p>
        </c:rich>
      </c:tx>
      <c:layout>
        <c:manualLayout>
          <c:xMode val="edge"/>
          <c:yMode val="edge"/>
          <c:x val="0.23205208970700197"/>
          <c:y val="1.751318305902518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sz="2128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pPr>
            <a:solidFill>
              <a:schemeClr val="accent1"/>
            </a:solidFill>
            <a:ln w="9525">
              <a:solidFill>
                <a:schemeClr val="accent1"/>
              </a:solidFill>
              <a:round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16747285190840824"/>
          <c:y val="0.20269404222576096"/>
          <c:w val="0.81491832463830272"/>
          <c:h val="0.369618910656017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2!$B$4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accent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A$5:$A$22</c:f>
              <c:strCache>
                <c:ptCount val="17"/>
                <c:pt idx="0">
                  <c:v>Blood and lymphatic system disorders</c:v>
                </c:pt>
                <c:pt idx="1">
                  <c:v>Cardiac disorders</c:v>
                </c:pt>
                <c:pt idx="2">
                  <c:v>Endocrine disorders</c:v>
                </c:pt>
                <c:pt idx="3">
                  <c:v>Eye disorders</c:v>
                </c:pt>
                <c:pt idx="4">
                  <c:v>General disorders and administration site conditions</c:v>
                </c:pt>
                <c:pt idx="5">
                  <c:v>Hepatobiliary disorders</c:v>
                </c:pt>
                <c:pt idx="6">
                  <c:v>Immune system disorders</c:v>
                </c:pt>
                <c:pt idx="7">
                  <c:v>Infections and infestations</c:v>
                </c:pt>
                <c:pt idx="8">
                  <c:v>Injury, poisoning and procedural complications</c:v>
                </c:pt>
                <c:pt idx="9">
                  <c:v>Investigations</c:v>
                </c:pt>
                <c:pt idx="10">
                  <c:v>Nervous system disorders</c:v>
                </c:pt>
                <c:pt idx="11">
                  <c:v>Renal and urinary disorders</c:v>
                </c:pt>
                <c:pt idx="12">
                  <c:v>Reproductive system and breast disorders</c:v>
                </c:pt>
                <c:pt idx="13">
                  <c:v>Respiratory, thoracic and mediastinal disorders</c:v>
                </c:pt>
                <c:pt idx="14">
                  <c:v>Skin and subcutaneous tissue disorders</c:v>
                </c:pt>
                <c:pt idx="15">
                  <c:v>Surgical and medical procedures</c:v>
                </c:pt>
                <c:pt idx="16">
                  <c:v>Vascular disorders</c:v>
                </c:pt>
              </c:strCache>
            </c:strRef>
          </c:cat>
          <c:val>
            <c:numRef>
              <c:f>Sheet2!$B$5:$B$22</c:f>
              <c:numCache>
                <c:formatCode>General</c:formatCode>
                <c:ptCount val="17"/>
                <c:pt idx="0">
                  <c:v>12</c:v>
                </c:pt>
                <c:pt idx="1">
                  <c:v>20</c:v>
                </c:pt>
                <c:pt idx="2">
                  <c:v>1</c:v>
                </c:pt>
                <c:pt idx="3">
                  <c:v>16</c:v>
                </c:pt>
                <c:pt idx="4">
                  <c:v>115</c:v>
                </c:pt>
                <c:pt idx="5">
                  <c:v>1</c:v>
                </c:pt>
                <c:pt idx="6">
                  <c:v>17</c:v>
                </c:pt>
                <c:pt idx="7">
                  <c:v>35</c:v>
                </c:pt>
                <c:pt idx="8">
                  <c:v>4</c:v>
                </c:pt>
                <c:pt idx="9">
                  <c:v>37</c:v>
                </c:pt>
                <c:pt idx="10">
                  <c:v>83</c:v>
                </c:pt>
                <c:pt idx="11">
                  <c:v>1</c:v>
                </c:pt>
                <c:pt idx="12">
                  <c:v>2</c:v>
                </c:pt>
                <c:pt idx="13">
                  <c:v>98</c:v>
                </c:pt>
                <c:pt idx="14">
                  <c:v>20</c:v>
                </c:pt>
                <c:pt idx="15">
                  <c:v>10</c:v>
                </c:pt>
                <c:pt idx="16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B27-41FF-8C74-8FD46EC8401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515231152"/>
        <c:axId val="515233776"/>
      </c:barChart>
      <c:catAx>
        <c:axId val="51523115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800" b="1" i="0" u="none" strike="noStrike" kern="1200" baseline="0">
                    <a:solidFill>
                      <a:schemeClr val="accent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ZA" sz="800" b="1">
                    <a:solidFill>
                      <a:schemeClr val="accent2">
                        <a:lumMod val="50000"/>
                      </a:schemeClr>
                    </a:solidFill>
                  </a:rPr>
                  <a:t>AESIs classified by System Organ Class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800" b="1" i="0" u="none" strike="noStrike" kern="1200" baseline="0">
                  <a:solidFill>
                    <a:schemeClr val="accent2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5233776"/>
        <c:crosses val="autoZero"/>
        <c:auto val="1"/>
        <c:lblAlgn val="ctr"/>
        <c:lblOffset val="100"/>
        <c:noMultiLvlLbl val="0"/>
      </c:catAx>
      <c:valAx>
        <c:axId val="5152337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1" i="0" u="none" strike="noStrike" kern="1200" baseline="0">
                    <a:solidFill>
                      <a:schemeClr val="accent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ZA" sz="800" b="1">
                    <a:solidFill>
                      <a:schemeClr val="accent2">
                        <a:lumMod val="50000"/>
                      </a:schemeClr>
                    </a:solidFill>
                  </a:rPr>
                  <a:t># Reports</a:t>
                </a:r>
              </a:p>
            </c:rich>
          </c:tx>
          <c:layout>
            <c:manualLayout>
              <c:xMode val="edge"/>
              <c:yMode val="edge"/>
              <c:x val="8.0217973509427734E-2"/>
              <c:y val="0.3245706904025914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1" i="0" u="none" strike="noStrike" kern="1200" baseline="0">
                  <a:solidFill>
                    <a:schemeClr val="accent2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5231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467726-C363-4360-990C-92DC731F41E3}" type="datetimeFigureOut">
              <a:rPr lang="en-ZA" smtClean="0"/>
              <a:t>2021/08/31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00F1C9-E650-405A-A513-4740297114A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223630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E1D133-B963-4866-9EEB-68254AD607A9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0909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8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9912" y="3429386"/>
            <a:ext cx="3667944" cy="1102519"/>
          </a:xfrm>
        </p:spPr>
        <p:txBody>
          <a:bodyPr>
            <a:noAutofit/>
          </a:bodyPr>
          <a:lstStyle>
            <a:lvl1pPr>
              <a:defRPr sz="3600">
                <a:solidFill>
                  <a:srgbClr val="0077A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0 January 2020</a:t>
            </a:r>
          </a:p>
        </p:txBody>
      </p:sp>
    </p:spTree>
    <p:extLst>
      <p:ext uri="{BB962C8B-B14F-4D97-AF65-F5344CB8AC3E}">
        <p14:creationId xmlns:p14="http://schemas.microsoft.com/office/powerpoint/2010/main" val="31318475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3538736" cy="288376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0 January 2020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1"/>
          </p:nvPr>
        </p:nvSpPr>
        <p:spPr>
          <a:xfrm>
            <a:off x="4139952" y="1200150"/>
            <a:ext cx="3528392" cy="288376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41160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0 January 2020</a:t>
            </a:r>
          </a:p>
        </p:txBody>
      </p:sp>
    </p:spTree>
    <p:extLst>
      <p:ext uri="{BB962C8B-B14F-4D97-AF65-F5344CB8AC3E}">
        <p14:creationId xmlns:p14="http://schemas.microsoft.com/office/powerpoint/2010/main" val="2428485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288376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0 January 2020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4644008" y="1200151"/>
            <a:ext cx="3024336" cy="288376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934840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0 January 2020</a:t>
            </a:r>
          </a:p>
        </p:txBody>
      </p:sp>
    </p:spTree>
    <p:extLst>
      <p:ext uri="{BB962C8B-B14F-4D97-AF65-F5344CB8AC3E}">
        <p14:creationId xmlns:p14="http://schemas.microsoft.com/office/powerpoint/2010/main" val="18685872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445023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 err="1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2050" y="1564222"/>
            <a:ext cx="8200351" cy="3066848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prstClr val="white">
                    <a:lumMod val="50000"/>
                  </a:prst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525" dirty="0">
              <a:solidFill>
                <a:prstClr val="white">
                  <a:lumMod val="50000"/>
                </a:prst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500" y="467100"/>
            <a:ext cx="8199900" cy="387798"/>
          </a:xfrm>
        </p:spPr>
        <p:txBody>
          <a:bodyPr/>
          <a:lstStyle>
            <a:lvl1pPr>
              <a:defRPr sz="28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31921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333447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 err="1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58051" y="4796082"/>
            <a:ext cx="1111538" cy="123111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2870100"/>
            <a:ext cx="8202600" cy="1530900"/>
          </a:xfrm>
        </p:spPr>
        <p:txBody>
          <a:bodyPr anchor="t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464174" y="2760012"/>
            <a:ext cx="8682228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 userDrawn="1"/>
        </p:nvSpPr>
        <p:spPr>
          <a:xfrm>
            <a:off x="8375904" y="4803777"/>
            <a:ext cx="285750" cy="11541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75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5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27421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40" y="630"/>
            <a:ext cx="9146239" cy="514475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7211144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7211144" cy="28837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20 January 2020</a:t>
            </a:r>
          </a:p>
        </p:txBody>
      </p:sp>
    </p:spTree>
    <p:extLst>
      <p:ext uri="{BB962C8B-B14F-4D97-AF65-F5344CB8AC3E}">
        <p14:creationId xmlns:p14="http://schemas.microsoft.com/office/powerpoint/2010/main" val="3513058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0" r:id="rId3"/>
    <p:sldLayoutId id="2147483652" r:id="rId4"/>
    <p:sldLayoutId id="2147483654" r:id="rId5"/>
    <p:sldLayoutId id="2147483656" r:id="rId6"/>
    <p:sldLayoutId id="2147483657" r:id="rId7"/>
  </p:sldLayoutIdLst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rgbClr val="6D6D6D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rgbClr val="6D6D6D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rgbClr val="6D6D6D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rgbClr val="6D6D6D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rgbClr val="6D6D6D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600" kern="1200">
          <a:solidFill>
            <a:srgbClr val="6D6D6D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1560" y="3075806"/>
            <a:ext cx="6908304" cy="2088676"/>
          </a:xfrm>
        </p:spPr>
        <p:txBody>
          <a:bodyPr/>
          <a:lstStyle/>
          <a:p>
            <a:r>
              <a:rPr lang="en-ZA" sz="2400" dirty="0"/>
              <a:t/>
            </a:r>
            <a:br>
              <a:rPr lang="en-ZA" sz="2400" dirty="0"/>
            </a:br>
            <a:r>
              <a:rPr lang="en-ZA" sz="2400" dirty="0"/>
              <a:t>SAHPRA update on COVID-19 vaccines</a:t>
            </a:r>
            <a:br>
              <a:rPr lang="en-ZA" sz="2400" dirty="0"/>
            </a:br>
            <a:r>
              <a:rPr lang="en-ZA" sz="2400" dirty="0"/>
              <a:t> </a:t>
            </a:r>
            <a:r>
              <a:rPr lang="en-ZA" sz="1600" dirty="0">
                <a:solidFill>
                  <a:schemeClr val="tx1"/>
                </a:solidFill>
              </a:rPr>
              <a:t>Dr B Semete-Makokotlela</a:t>
            </a:r>
            <a:br>
              <a:rPr lang="en-ZA" sz="1600" dirty="0">
                <a:solidFill>
                  <a:schemeClr val="tx1"/>
                </a:solidFill>
              </a:rPr>
            </a:br>
            <a:r>
              <a:rPr lang="en-ZA" sz="1600" dirty="0">
                <a:solidFill>
                  <a:schemeClr val="tx1"/>
                </a:solidFill>
              </a:rPr>
              <a:t> SAHPRA CEO</a:t>
            </a:r>
            <a:r>
              <a:rPr lang="en-GB" sz="1600" dirty="0">
                <a:solidFill>
                  <a:schemeClr val="tx1"/>
                </a:solidFill>
              </a:rPr>
              <a:t/>
            </a:r>
            <a:br>
              <a:rPr lang="en-GB" sz="1600" dirty="0">
                <a:solidFill>
                  <a:schemeClr val="tx1"/>
                </a:solidFill>
              </a:rPr>
            </a:br>
            <a:r>
              <a:rPr lang="en-GB" sz="1600" dirty="0">
                <a:solidFill>
                  <a:schemeClr val="tx1"/>
                </a:solidFill>
              </a:rPr>
              <a:t> </a:t>
            </a:r>
            <a:r>
              <a:rPr lang="en-GB" sz="1600">
                <a:solidFill>
                  <a:schemeClr val="tx1"/>
                </a:solidFill>
              </a:rPr>
              <a:t>1 September </a:t>
            </a:r>
            <a:r>
              <a:rPr lang="en-GB" sz="1600" dirty="0">
                <a:solidFill>
                  <a:schemeClr val="tx1"/>
                </a:solidFill>
              </a:rPr>
              <a:t>2021</a:t>
            </a:r>
            <a:r>
              <a:rPr lang="en-GB" sz="2400" dirty="0"/>
              <a:t/>
            </a:r>
            <a:br>
              <a:rPr lang="en-GB" sz="2400" dirty="0"/>
            </a:b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35277265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-19 vaccines updates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094991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-36512" y="260741"/>
            <a:ext cx="8199900" cy="387798"/>
          </a:xfrm>
        </p:spPr>
        <p:txBody>
          <a:bodyPr>
            <a:noAutofit/>
          </a:bodyPr>
          <a:lstStyle/>
          <a:p>
            <a:r>
              <a:rPr lang="en-US" sz="2400" b="1" dirty="0">
                <a:solidFill>
                  <a:schemeClr val="accent1"/>
                </a:solidFill>
              </a:rPr>
              <a:t>COVID-19 Vaccine Applications and approvals</a:t>
            </a:r>
            <a:endParaRPr lang="en-ZA" sz="2400" b="1" dirty="0">
              <a:solidFill>
                <a:schemeClr val="accent1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107504" y="843558"/>
          <a:ext cx="7848873" cy="39149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4176">
                  <a:extLst>
                    <a:ext uri="{9D8B030D-6E8A-4147-A177-3AD203B41FA5}">
                      <a16:colId xmlns:a16="http://schemas.microsoft.com/office/drawing/2014/main" val="2077909680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509688014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1875430736"/>
                    </a:ext>
                  </a:extLst>
                </a:gridCol>
                <a:gridCol w="3384377">
                  <a:extLst>
                    <a:ext uri="{9D8B030D-6E8A-4147-A177-3AD203B41FA5}">
                      <a16:colId xmlns:a16="http://schemas.microsoft.com/office/drawing/2014/main" val="2990267631"/>
                    </a:ext>
                  </a:extLst>
                </a:gridCol>
              </a:tblGrid>
              <a:tr h="247134">
                <a:tc>
                  <a:txBody>
                    <a:bodyPr/>
                    <a:lstStyle/>
                    <a:p>
                      <a:r>
                        <a:rPr lang="en-US" sz="1100" dirty="0"/>
                        <a:t>Section 21 for</a:t>
                      </a:r>
                      <a:endParaRPr lang="en-ZA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Applicant</a:t>
                      </a:r>
                      <a:endParaRPr lang="en-ZA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Application Date</a:t>
                      </a:r>
                      <a:endParaRPr lang="en-ZA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Status</a:t>
                      </a:r>
                      <a:endParaRPr lang="en-ZA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8978100"/>
                  </a:ext>
                </a:extLst>
              </a:tr>
              <a:tr h="441038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Z/SII </a:t>
                      </a:r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hadOx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NDoH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07/01/2021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ection</a:t>
                      </a:r>
                      <a:r>
                        <a:rPr lang="en-US" sz="14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21 </a:t>
                      </a:r>
                      <a:r>
                        <a:rPr lang="en-US" sz="1400" baseline="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uthorisation</a:t>
                      </a:r>
                      <a:r>
                        <a:rPr lang="en-US" sz="14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Issued 22/01/2021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7527284"/>
                  </a:ext>
                </a:extLst>
              </a:tr>
              <a:tr h="689095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Pfizer/</a:t>
                      </a:r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Biontech</a:t>
                      </a:r>
                      <a:endParaRPr lang="en-US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  <a:p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omirnaty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Pfizer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03/02/2021</a:t>
                      </a:r>
                      <a:endParaRPr lang="en-US" sz="1400" baseline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  <a:p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ection 21 </a:t>
                      </a:r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uthorisation</a:t>
                      </a:r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issued 10/03/2021</a:t>
                      </a:r>
                    </a:p>
                    <a:p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4358674"/>
                  </a:ext>
                </a:extLst>
              </a:tr>
              <a:tr h="47396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J&amp;J Ad-26</a:t>
                      </a:r>
                      <a:endParaRPr lang="en-ZA" sz="1400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Janssen</a:t>
                      </a:r>
                      <a:endParaRPr lang="en-ZA" sz="1400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04/11/ 2020</a:t>
                      </a:r>
                      <a:endParaRPr lang="en-ZA" sz="1400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onditional Market authorization on 30/03/2021</a:t>
                      </a:r>
                      <a:endParaRPr lang="en-ZA" sz="1400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0149598"/>
                  </a:ext>
                </a:extLst>
              </a:tr>
              <a:tr h="586999">
                <a:tc>
                  <a:txBody>
                    <a:bodyPr/>
                    <a:lstStyle/>
                    <a:p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inovac</a:t>
                      </a:r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oronavac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uranto</a:t>
                      </a:r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pharma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10/03/2021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ection 21 </a:t>
                      </a:r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uthorisation</a:t>
                      </a:r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issued 2/07/20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4160359"/>
                  </a:ext>
                </a:extLst>
              </a:tr>
              <a:tr h="586999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putnik V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Lamar pharmaceuticals</a:t>
                      </a:r>
                    </a:p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Dr </a:t>
                      </a:r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Reddys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23/02/2021</a:t>
                      </a:r>
                    </a:p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30/04/2021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In review. 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883102"/>
                  </a:ext>
                </a:extLst>
              </a:tr>
              <a:tr h="689095">
                <a:tc>
                  <a:txBody>
                    <a:bodyPr/>
                    <a:lstStyle/>
                    <a:p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inopharm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LHC</a:t>
                      </a:r>
                    </a:p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MC pharma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22/06/2021</a:t>
                      </a:r>
                    </a:p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08/07/2021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In revie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6615370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EC09276-B6C4-4FC8-9BA3-5A92E77D59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60741"/>
            <a:ext cx="9144000" cy="449780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856460C-C11B-48FE-92E8-D8BD8E96EAE9}"/>
              </a:ext>
            </a:extLst>
          </p:cNvPr>
          <p:cNvSpPr/>
          <p:nvPr/>
        </p:nvSpPr>
        <p:spPr>
          <a:xfrm>
            <a:off x="6948264" y="300127"/>
            <a:ext cx="1368152" cy="1696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19 August 2021</a:t>
            </a:r>
            <a:endParaRPr lang="en-ZA" sz="1000" dirty="0"/>
          </a:p>
        </p:txBody>
      </p:sp>
    </p:spTree>
    <p:extLst>
      <p:ext uri="{BB962C8B-B14F-4D97-AF65-F5344CB8AC3E}">
        <p14:creationId xmlns:p14="http://schemas.microsoft.com/office/powerpoint/2010/main" val="1086951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-387540" y="270910"/>
            <a:ext cx="8199900" cy="259224"/>
          </a:xfrm>
        </p:spPr>
        <p:txBody>
          <a:bodyPr>
            <a:noAutofit/>
          </a:bodyPr>
          <a:lstStyle/>
          <a:p>
            <a:pPr algn="ctr"/>
            <a:r>
              <a:rPr lang="en-US" sz="1300" b="1" dirty="0">
                <a:solidFill>
                  <a:schemeClr val="tx1">
                    <a:lumMod val="50000"/>
                  </a:schemeClr>
                </a:solidFill>
              </a:rPr>
              <a:t>Status of COVID-19 vaccines within WHO EUL/PQ Evaluation process</a:t>
            </a:r>
            <a:endParaRPr lang="en-ZA" sz="1300" b="1" dirty="0">
              <a:solidFill>
                <a:schemeClr val="tx1">
                  <a:lumMod val="50000"/>
                </a:schemeClr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7016073"/>
              </p:ext>
            </p:extLst>
          </p:nvPr>
        </p:nvGraphicFramePr>
        <p:xfrm>
          <a:off x="107504" y="1603865"/>
          <a:ext cx="7848873" cy="33083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4176">
                  <a:extLst>
                    <a:ext uri="{9D8B030D-6E8A-4147-A177-3AD203B41FA5}">
                      <a16:colId xmlns:a16="http://schemas.microsoft.com/office/drawing/2014/main" val="2077909680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509688014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1875430736"/>
                    </a:ext>
                  </a:extLst>
                </a:gridCol>
                <a:gridCol w="3384377">
                  <a:extLst>
                    <a:ext uri="{9D8B030D-6E8A-4147-A177-3AD203B41FA5}">
                      <a16:colId xmlns:a16="http://schemas.microsoft.com/office/drawing/2014/main" val="2990267631"/>
                    </a:ext>
                  </a:extLst>
                </a:gridCol>
              </a:tblGrid>
              <a:tr h="192367">
                <a:tc>
                  <a:txBody>
                    <a:bodyPr/>
                    <a:lstStyle/>
                    <a:p>
                      <a:r>
                        <a:rPr lang="en-US" sz="1100" dirty="0"/>
                        <a:t>Section 21 for</a:t>
                      </a:r>
                      <a:endParaRPr lang="en-ZA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Applicant</a:t>
                      </a:r>
                      <a:endParaRPr lang="en-ZA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Application Date</a:t>
                      </a:r>
                      <a:endParaRPr lang="en-ZA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Status</a:t>
                      </a:r>
                      <a:endParaRPr lang="en-ZA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8978100"/>
                  </a:ext>
                </a:extLst>
              </a:tr>
              <a:tr h="327470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Z/SII </a:t>
                      </a:r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hadOx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NDoH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07/01/2021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ection</a:t>
                      </a:r>
                      <a:r>
                        <a:rPr lang="en-US" sz="14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21 </a:t>
                      </a:r>
                      <a:r>
                        <a:rPr lang="en-US" sz="1400" baseline="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uthorisation</a:t>
                      </a:r>
                      <a:r>
                        <a:rPr lang="en-US" sz="14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Issued 22/01/2021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7527284"/>
                  </a:ext>
                </a:extLst>
              </a:tr>
              <a:tr h="511653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Pfizer/</a:t>
                      </a:r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Biontech</a:t>
                      </a:r>
                      <a:endParaRPr lang="en-US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  <a:p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omirnaty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Pfizer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03/02/2021</a:t>
                      </a:r>
                      <a:endParaRPr lang="en-US" sz="1400" baseline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  <a:p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ection 21 </a:t>
                      </a:r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uthorisation</a:t>
                      </a:r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issued 10/03/2021</a:t>
                      </a:r>
                    </a:p>
                    <a:p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4358674"/>
                  </a:ext>
                </a:extLst>
              </a:tr>
              <a:tr h="38473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J&amp;J Ad-26</a:t>
                      </a:r>
                      <a:endParaRPr lang="en-ZA" sz="1400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Janssen</a:t>
                      </a:r>
                      <a:endParaRPr lang="en-ZA" sz="1400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04/11/ 2020</a:t>
                      </a:r>
                      <a:endParaRPr lang="en-ZA" sz="1400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onditional Market authorization on 30/03/2021</a:t>
                      </a:r>
                      <a:endParaRPr lang="en-ZA" sz="1400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0149598"/>
                  </a:ext>
                </a:extLst>
              </a:tr>
              <a:tr h="435846">
                <a:tc>
                  <a:txBody>
                    <a:bodyPr/>
                    <a:lstStyle/>
                    <a:p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inovac</a:t>
                      </a:r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oronavac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uranto</a:t>
                      </a:r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pharma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10/03/2021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ection 21 </a:t>
                      </a:r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uthorisation</a:t>
                      </a:r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issued 2/07/20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4160359"/>
                  </a:ext>
                </a:extLst>
              </a:tr>
              <a:tr h="543153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putnik V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Lamar pharmaceuticals</a:t>
                      </a:r>
                    </a:p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Dr </a:t>
                      </a:r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Reddys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23/02/2021</a:t>
                      </a:r>
                    </a:p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30/04/2021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In review. 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883102"/>
                  </a:ext>
                </a:extLst>
              </a:tr>
              <a:tr h="511653">
                <a:tc>
                  <a:txBody>
                    <a:bodyPr/>
                    <a:lstStyle/>
                    <a:p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inopharm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LHC</a:t>
                      </a:r>
                    </a:p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MC pharma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22/06/2021</a:t>
                      </a:r>
                    </a:p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08/07/2021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In revie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6615370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D4168CB1-8100-4D7D-B441-5164B32312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6512" y="813442"/>
            <a:ext cx="9199197" cy="97573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08B1447-5AB8-44F0-9628-B2391EBD13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84334"/>
            <a:ext cx="9144000" cy="25922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EED235E-BE1B-4924-9053-DDDA628DC8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08520" y="1789175"/>
            <a:ext cx="9481865" cy="325747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28CB6B7E-E77D-4B4C-8934-6BA8B0A72E05}"/>
              </a:ext>
            </a:extLst>
          </p:cNvPr>
          <p:cNvSpPr/>
          <p:nvPr/>
        </p:nvSpPr>
        <p:spPr>
          <a:xfrm>
            <a:off x="7020272" y="286039"/>
            <a:ext cx="1224136" cy="15210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19 August 2021</a:t>
            </a:r>
            <a:endParaRPr lang="en-ZA" sz="1000" dirty="0"/>
          </a:p>
        </p:txBody>
      </p:sp>
    </p:spTree>
    <p:extLst>
      <p:ext uri="{BB962C8B-B14F-4D97-AF65-F5344CB8AC3E}">
        <p14:creationId xmlns:p14="http://schemas.microsoft.com/office/powerpoint/2010/main" val="618727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-36512" y="270910"/>
            <a:ext cx="8199900" cy="331433"/>
          </a:xfrm>
        </p:spPr>
        <p:txBody>
          <a:bodyPr>
            <a:noAutofit/>
          </a:bodyPr>
          <a:lstStyle/>
          <a:p>
            <a:pPr algn="ctr"/>
            <a:r>
              <a:rPr lang="en-US" sz="1300" b="1" dirty="0">
                <a:solidFill>
                  <a:schemeClr val="tx1">
                    <a:lumMod val="50000"/>
                  </a:schemeClr>
                </a:solidFill>
              </a:rPr>
              <a:t>Status of COVID-19 vaccines within WHO EUL/PQ Evaluation process</a:t>
            </a:r>
            <a:r>
              <a:rPr lang="en-ZA" sz="2400" b="1" dirty="0">
                <a:solidFill>
                  <a:schemeClr val="tx1">
                    <a:lumMod val="50000"/>
                  </a:schemeClr>
                </a:solidFill>
              </a:rPr>
              <a:t/>
            </a:r>
            <a:br>
              <a:rPr lang="en-ZA" sz="2400" b="1" dirty="0">
                <a:solidFill>
                  <a:schemeClr val="tx1">
                    <a:lumMod val="50000"/>
                  </a:schemeClr>
                </a:solidFill>
              </a:rPr>
            </a:br>
            <a:endParaRPr lang="en-ZA" sz="2200" b="1" dirty="0">
              <a:solidFill>
                <a:schemeClr val="accent1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8916552"/>
              </p:ext>
            </p:extLst>
          </p:nvPr>
        </p:nvGraphicFramePr>
        <p:xfrm>
          <a:off x="35496" y="1131590"/>
          <a:ext cx="7848873" cy="23079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4176">
                  <a:extLst>
                    <a:ext uri="{9D8B030D-6E8A-4147-A177-3AD203B41FA5}">
                      <a16:colId xmlns:a16="http://schemas.microsoft.com/office/drawing/2014/main" val="2077909680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509688014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1875430736"/>
                    </a:ext>
                  </a:extLst>
                </a:gridCol>
                <a:gridCol w="3384377">
                  <a:extLst>
                    <a:ext uri="{9D8B030D-6E8A-4147-A177-3AD203B41FA5}">
                      <a16:colId xmlns:a16="http://schemas.microsoft.com/office/drawing/2014/main" val="2990267631"/>
                    </a:ext>
                  </a:extLst>
                </a:gridCol>
              </a:tblGrid>
              <a:tr h="230956">
                <a:tc>
                  <a:txBody>
                    <a:bodyPr/>
                    <a:lstStyle/>
                    <a:p>
                      <a:r>
                        <a:rPr lang="en-US" sz="1100" dirty="0"/>
                        <a:t>Section 21 for</a:t>
                      </a:r>
                      <a:endParaRPr lang="en-ZA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Applicant</a:t>
                      </a:r>
                      <a:endParaRPr lang="en-ZA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Application Date</a:t>
                      </a:r>
                      <a:endParaRPr lang="en-ZA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Status</a:t>
                      </a:r>
                      <a:endParaRPr lang="en-ZA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8978100"/>
                  </a:ext>
                </a:extLst>
              </a:tr>
              <a:tr h="393162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Z/SII </a:t>
                      </a:r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hadOx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NDoH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7/01/2021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ection</a:t>
                      </a:r>
                      <a:r>
                        <a:rPr lang="en-US" sz="14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21 </a:t>
                      </a:r>
                      <a:r>
                        <a:rPr lang="en-US" sz="1400" baseline="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uthorisation</a:t>
                      </a:r>
                      <a:r>
                        <a:rPr lang="en-US" sz="14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Issued 22/01/2021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7527284"/>
                  </a:ext>
                </a:extLst>
              </a:tr>
              <a:tr h="614292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Pfizer/</a:t>
                      </a:r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Biontech</a:t>
                      </a:r>
                      <a:endParaRPr lang="en-US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  <a:p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omirnaty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Pfizer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03/02/2021</a:t>
                      </a:r>
                      <a:endParaRPr lang="en-US" sz="1400" baseline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  <a:p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ection 21 </a:t>
                      </a:r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uthorisation</a:t>
                      </a:r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issued 10/03/2021</a:t>
                      </a:r>
                    </a:p>
                    <a:p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4358674"/>
                  </a:ext>
                </a:extLst>
              </a:tr>
              <a:tr h="46191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J&amp;J Ad-26</a:t>
                      </a:r>
                      <a:endParaRPr lang="en-ZA" sz="1400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Janssen</a:t>
                      </a:r>
                      <a:endParaRPr lang="en-ZA" sz="1400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/11/ 2020</a:t>
                      </a:r>
                      <a:endParaRPr lang="en-ZA" sz="1400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onditional Market authorization on 30/03/2021</a:t>
                      </a:r>
                      <a:endParaRPr lang="en-ZA" sz="1400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0149598"/>
                  </a:ext>
                </a:extLst>
              </a:tr>
              <a:tr h="523279">
                <a:tc>
                  <a:txBody>
                    <a:bodyPr/>
                    <a:lstStyle/>
                    <a:p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inovac</a:t>
                      </a:r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oronavac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uranto</a:t>
                      </a:r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pharma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08/03/2021</a:t>
                      </a:r>
                      <a:endParaRPr lang="en-ZA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ection 21 </a:t>
                      </a:r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uthorisation</a:t>
                      </a:r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issued 2/07/20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4160359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F266A4CD-030B-4518-AA7C-2F6DC7E6D9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44525" y="424001"/>
            <a:ext cx="9217024" cy="21536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4173CF4-9FE2-4DDC-A694-C53731074D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87085" y="608582"/>
            <a:ext cx="9006114" cy="106373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07689C1-4B87-43A2-8AA5-02A3AA0453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36286" y="1661286"/>
            <a:ext cx="9036781" cy="1744579"/>
          </a:xfrm>
          <a:prstGeom prst="rect">
            <a:avLst/>
          </a:prstGeom>
        </p:spPr>
      </p:pic>
      <p:sp>
        <p:nvSpPr>
          <p:cNvPr id="12" name="Title 2">
            <a:extLst>
              <a:ext uri="{FF2B5EF4-FFF2-40B4-BE49-F238E27FC236}">
                <a16:creationId xmlns:a16="http://schemas.microsoft.com/office/drawing/2014/main" id="{F7B7F873-5E4D-4B53-AEB6-F8D232F569A7}"/>
              </a:ext>
            </a:extLst>
          </p:cNvPr>
          <p:cNvSpPr txBox="1">
            <a:spLocks/>
          </p:cNvSpPr>
          <p:nvPr/>
        </p:nvSpPr>
        <p:spPr>
          <a:xfrm>
            <a:off x="-387540" y="270910"/>
            <a:ext cx="8199900" cy="2592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rgbClr val="6D6D6D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algn="ctr"/>
            <a:endParaRPr lang="en-ZA" sz="13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58E215B-C8D6-4876-973B-487506B315BD}"/>
              </a:ext>
            </a:extLst>
          </p:cNvPr>
          <p:cNvSpPr/>
          <p:nvPr/>
        </p:nvSpPr>
        <p:spPr>
          <a:xfrm>
            <a:off x="6948264" y="192463"/>
            <a:ext cx="1296144" cy="1530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19 August 2021</a:t>
            </a:r>
            <a:endParaRPr lang="en-ZA" sz="1000" dirty="0"/>
          </a:p>
        </p:txBody>
      </p:sp>
    </p:spTree>
    <p:extLst>
      <p:ext uri="{BB962C8B-B14F-4D97-AF65-F5344CB8AC3E}">
        <p14:creationId xmlns:p14="http://schemas.microsoft.com/office/powerpoint/2010/main" val="4099263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7504" y="123478"/>
            <a:ext cx="7920880" cy="474218"/>
          </a:xfrm>
        </p:spPr>
        <p:txBody>
          <a:bodyPr>
            <a:noAutofit/>
          </a:bodyPr>
          <a:lstStyle/>
          <a:p>
            <a:r>
              <a:rPr lang="en-US" sz="2400" b="1" dirty="0">
                <a:solidFill>
                  <a:schemeClr val="accent1"/>
                </a:solidFill>
              </a:rPr>
              <a:t>Pre-Submission Meetings between SAHPRA and Applicants</a:t>
            </a:r>
            <a:endParaRPr lang="en-ZA" sz="2400" b="1" dirty="0">
              <a:solidFill>
                <a:schemeClr val="accent1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8242192"/>
              </p:ext>
            </p:extLst>
          </p:nvPr>
        </p:nvGraphicFramePr>
        <p:xfrm>
          <a:off x="179512" y="843558"/>
          <a:ext cx="7488832" cy="41137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0561">
                  <a:extLst>
                    <a:ext uri="{9D8B030D-6E8A-4147-A177-3AD203B41FA5}">
                      <a16:colId xmlns:a16="http://schemas.microsoft.com/office/drawing/2014/main" val="1259806129"/>
                    </a:ext>
                  </a:extLst>
                </a:gridCol>
                <a:gridCol w="1549244">
                  <a:extLst>
                    <a:ext uri="{9D8B030D-6E8A-4147-A177-3AD203B41FA5}">
                      <a16:colId xmlns:a16="http://schemas.microsoft.com/office/drawing/2014/main" val="2045032932"/>
                    </a:ext>
                  </a:extLst>
                </a:gridCol>
                <a:gridCol w="1272176">
                  <a:extLst>
                    <a:ext uri="{9D8B030D-6E8A-4147-A177-3AD203B41FA5}">
                      <a16:colId xmlns:a16="http://schemas.microsoft.com/office/drawing/2014/main" val="984102300"/>
                    </a:ext>
                  </a:extLst>
                </a:gridCol>
                <a:gridCol w="2876851">
                  <a:extLst>
                    <a:ext uri="{9D8B030D-6E8A-4147-A177-3AD203B41FA5}">
                      <a16:colId xmlns:a16="http://schemas.microsoft.com/office/drawing/2014/main" val="3735409141"/>
                    </a:ext>
                  </a:extLst>
                </a:gridCol>
              </a:tblGrid>
              <a:tr h="326672">
                <a:tc>
                  <a:txBody>
                    <a:bodyPr/>
                    <a:lstStyle/>
                    <a:p>
                      <a:r>
                        <a:rPr lang="en-US" sz="1200" dirty="0"/>
                        <a:t>Vaccine</a:t>
                      </a:r>
                      <a:endParaRPr lang="en-ZA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pplicant</a:t>
                      </a:r>
                      <a:endParaRPr lang="en-ZA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Date</a:t>
                      </a:r>
                      <a:endParaRPr lang="en-ZA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Outcome</a:t>
                      </a:r>
                      <a:endParaRPr lang="en-ZA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7323186"/>
                  </a:ext>
                </a:extLst>
              </a:tr>
              <a:tr h="462054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J&amp;J</a:t>
                      </a:r>
                      <a:r>
                        <a:rPr lang="en-US" sz="1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Ad-26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Janssen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4/11/ 2020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ubmission of a rolling review application</a:t>
                      </a:r>
                    </a:p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(Rolling review Part 1)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7163561"/>
                  </a:ext>
                </a:extLst>
              </a:tr>
              <a:tr h="280533">
                <a:tc rowSpan="2"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Z/ </a:t>
                      </a:r>
                      <a:r>
                        <a:rPr lang="en-US" sz="11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RPharm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RPharm</a:t>
                      </a:r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/AZ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15/12/2020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Rpharm</a:t>
                      </a:r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-Russian Manufacturer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8260231"/>
                  </a:ext>
                </a:extLst>
              </a:tr>
              <a:tr h="462054"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RPharm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18/01/2020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Establish </a:t>
                      </a:r>
                      <a:r>
                        <a:rPr lang="en-US" sz="11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Rpharm</a:t>
                      </a:r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local </a:t>
                      </a:r>
                    </a:p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Intend for S21 and rolling submission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5603545"/>
                  </a:ext>
                </a:extLst>
              </a:tr>
              <a:tr h="280533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Z/SII-</a:t>
                      </a:r>
                      <a:r>
                        <a:rPr lang="en-US" sz="11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hadOX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NDoH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31/12/2020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ection 21 </a:t>
                      </a:r>
                      <a:r>
                        <a:rPr lang="en-US" sz="11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NDoH</a:t>
                      </a:r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granted 22 Jan 2021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3068819"/>
                  </a:ext>
                </a:extLst>
              </a:tr>
              <a:tr h="462054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Pfizer</a:t>
                      </a:r>
                      <a:r>
                        <a:rPr lang="en-US" sz="1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/</a:t>
                      </a:r>
                      <a:r>
                        <a:rPr lang="en-US" sz="1100" baseline="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BioNtec</a:t>
                      </a:r>
                      <a:r>
                        <a:rPr lang="en-US" sz="1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US" sz="1100" baseline="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omirnaty</a:t>
                      </a:r>
                      <a:endParaRPr lang="en-US" sz="1100" baseline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  <a:p>
                      <a:r>
                        <a:rPr lang="en-US" sz="1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mRNA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Pfizer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7/01/2021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03/02/2021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ubmission for Reliance review application Section 21 application 04/02/2021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6872324"/>
                  </a:ext>
                </a:extLst>
              </a:tr>
              <a:tr h="643575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putnik V</a:t>
                      </a:r>
                    </a:p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d-26 and Ad-5</a:t>
                      </a:r>
                      <a:r>
                        <a:rPr lang="en-US" sz="1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Lamar Pharmaceuticals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11/02/2021</a:t>
                      </a:r>
                    </a:p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18/02/2021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pplicant to provide details of vaccine and available data, Applicant to submit Section 21 and rolling review for registration 23/02/2021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0600559"/>
                  </a:ext>
                </a:extLst>
              </a:tr>
              <a:tr h="514544">
                <a:tc>
                  <a:txBody>
                    <a:bodyPr/>
                    <a:lstStyle/>
                    <a:p>
                      <a:r>
                        <a:rPr lang="en-US" sz="11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inovac</a:t>
                      </a:r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US" sz="11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oronaVac</a:t>
                      </a:r>
                      <a:endParaRPr lang="en-US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(Vera-cell)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Numulox</a:t>
                      </a:r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/</a:t>
                      </a:r>
                      <a:r>
                        <a:rPr lang="en-US" sz="11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uranto</a:t>
                      </a:r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Pharma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18/02/2021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Intend to submit Section 21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5874355"/>
                  </a:ext>
                </a:extLst>
              </a:tr>
              <a:tr h="681736"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putnik V</a:t>
                      </a:r>
                    </a:p>
                    <a:p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d-26 and Ad-5</a:t>
                      </a:r>
                      <a:r>
                        <a:rPr lang="en-US" sz="1100" b="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Dr Reddy (Pty) Ltd 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08/04/2021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ceed</a:t>
                      </a:r>
                      <a:r>
                        <a:rPr lang="en-US" sz="1100" b="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with submission of application (</a:t>
                      </a:r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 submission to be made</a:t>
                      </a:r>
                      <a:r>
                        <a:rPr lang="en-US" sz="1100" b="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as r</a:t>
                      </a:r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olling review submission)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900837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8721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809" y="17580"/>
            <a:ext cx="7211144" cy="857250"/>
          </a:xfrm>
        </p:spPr>
        <p:txBody>
          <a:bodyPr>
            <a:noAutofit/>
          </a:bodyPr>
          <a:lstStyle/>
          <a:p>
            <a:r>
              <a:rPr lang="en-US" sz="2400" b="1" dirty="0">
                <a:solidFill>
                  <a:schemeClr val="accent1"/>
                </a:solidFill>
              </a:rPr>
              <a:t>Pre-Submission Meetings between SAHPRA and Applicants </a:t>
            </a:r>
            <a:r>
              <a:rPr lang="en-US" sz="2400" b="1" dirty="0" err="1">
                <a:solidFill>
                  <a:schemeClr val="accent1"/>
                </a:solidFill>
              </a:rPr>
              <a:t>cont</a:t>
            </a:r>
            <a:r>
              <a:rPr lang="en-US" sz="2400" b="1" dirty="0">
                <a:solidFill>
                  <a:schemeClr val="accent1"/>
                </a:solidFill>
              </a:rPr>
              <a:t>…</a:t>
            </a:r>
            <a:endParaRPr lang="en-ZA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9" y="987574"/>
            <a:ext cx="8573702" cy="2926080"/>
          </a:xfrm>
        </p:spPr>
        <p:txBody>
          <a:bodyPr/>
          <a:lstStyle/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1" i="0" u="none" strike="noStrike" kern="1200" dirty="0" err="1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Coronavac</a:t>
            </a:r>
            <a:r>
              <a:rPr lang="en-US" sz="1800" b="1" i="0" u="none" strike="noStrike" kern="1200" dirty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 (Vera-cell)</a:t>
            </a:r>
            <a:endParaRPr lang="en-ZA" sz="1800" b="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1" i="0" u="none" strike="noStrike" kern="1200" dirty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Solace</a:t>
            </a:r>
            <a:endParaRPr lang="en-ZA" sz="1800" b="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1" i="0" u="none" strike="noStrike" kern="1200" dirty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16/04/2021</a:t>
            </a:r>
            <a:endParaRPr lang="en-ZA" sz="1800" b="0" i="0" u="none" strike="noStrike" dirty="0">
              <a:effectLst/>
              <a:latin typeface="Arial" panose="020B0604020202020204" pitchFamily="34" charset="0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1" i="0" u="none" strike="noStrike" kern="1200" dirty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Applicant not licensed for Pharmaceuticals and will apply for SAHPRA license. Applicant required</a:t>
            </a:r>
            <a:r>
              <a:rPr lang="en-US" sz="1800" b="1" i="0" u="none" strike="noStrike" kern="1200" baseline="0" dirty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 to gain more knowledge and information of their product</a:t>
            </a:r>
            <a:endParaRPr lang="en-ZA" sz="1800" b="0" i="0" u="none" strike="noStrike" dirty="0">
              <a:effectLst/>
              <a:latin typeface="Arial" panose="020B0604020202020204" pitchFamily="34" charset="0"/>
            </a:endParaRPr>
          </a:p>
          <a:p>
            <a:pPr marL="0" indent="0">
              <a:buNone/>
            </a:pPr>
            <a:endParaRPr lang="en-ZA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1388409"/>
              </p:ext>
            </p:extLst>
          </p:nvPr>
        </p:nvGraphicFramePr>
        <p:xfrm>
          <a:off x="144930" y="762086"/>
          <a:ext cx="8352928" cy="43664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66681">
                  <a:extLst>
                    <a:ext uri="{9D8B030D-6E8A-4147-A177-3AD203B41FA5}">
                      <a16:colId xmlns:a16="http://schemas.microsoft.com/office/drawing/2014/main" val="1259806129"/>
                    </a:ext>
                  </a:extLst>
                </a:gridCol>
                <a:gridCol w="1658486">
                  <a:extLst>
                    <a:ext uri="{9D8B030D-6E8A-4147-A177-3AD203B41FA5}">
                      <a16:colId xmlns:a16="http://schemas.microsoft.com/office/drawing/2014/main" val="2045032932"/>
                    </a:ext>
                  </a:extLst>
                </a:gridCol>
                <a:gridCol w="1418966">
                  <a:extLst>
                    <a:ext uri="{9D8B030D-6E8A-4147-A177-3AD203B41FA5}">
                      <a16:colId xmlns:a16="http://schemas.microsoft.com/office/drawing/2014/main" val="984102300"/>
                    </a:ext>
                  </a:extLst>
                </a:gridCol>
                <a:gridCol w="3208795">
                  <a:extLst>
                    <a:ext uri="{9D8B030D-6E8A-4147-A177-3AD203B41FA5}">
                      <a16:colId xmlns:a16="http://schemas.microsoft.com/office/drawing/2014/main" val="3735409141"/>
                    </a:ext>
                  </a:extLst>
                </a:gridCol>
              </a:tblGrid>
              <a:tr h="277429">
                <a:tc>
                  <a:txBody>
                    <a:bodyPr/>
                    <a:lstStyle/>
                    <a:p>
                      <a:r>
                        <a:rPr lang="en-US" sz="1400" dirty="0"/>
                        <a:t>Vaccine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Applicant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Date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Outcome</a:t>
                      </a:r>
                      <a:endParaRPr lang="en-ZA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7323186"/>
                  </a:ext>
                </a:extLst>
              </a:tr>
              <a:tr h="540987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UB-612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  <a:p>
                      <a:r>
                        <a:rPr lang="en-US" sz="11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Multitope</a:t>
                      </a:r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Peptide-Based Vaccine (MPV) Against COVID-19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Vaxxinity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16/04/2021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Will establish local presence of</a:t>
                      </a:r>
                      <a:r>
                        <a:rPr lang="en-US" sz="1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US" sz="1100" baseline="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Vaxxinity</a:t>
                      </a:r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. Data</a:t>
                      </a:r>
                      <a:r>
                        <a:rPr lang="en-US" sz="1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up to phase II available; phase 3 India commenced in March 2021. Intend for EUL WHO mid 2021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2193363"/>
                  </a:ext>
                </a:extLst>
              </a:tr>
              <a:tr h="544377">
                <a:tc>
                  <a:txBody>
                    <a:bodyPr/>
                    <a:lstStyle/>
                    <a:p>
                      <a:r>
                        <a:rPr lang="en-US" sz="11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oronavac</a:t>
                      </a:r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(Vera-cell)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olace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16/04/2021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pplicant not licensed for Pharmaceuticals and will apply for SAHPRA license. Applicant required</a:t>
                      </a:r>
                      <a:r>
                        <a:rPr lang="en-US" sz="1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to gain more knowledge and information of their product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3205897"/>
                  </a:ext>
                </a:extLst>
              </a:tr>
              <a:tr h="462060">
                <a:tc>
                  <a:txBody>
                    <a:bodyPr/>
                    <a:lstStyle/>
                    <a:p>
                      <a:r>
                        <a:rPr lang="en-ZA" sz="1100" b="0" kern="12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vaxint</a:t>
                      </a:r>
                      <a:r>
                        <a:rPr lang="en-ZA" sz="11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1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harat Biotech Limited ( </a:t>
                      </a:r>
                      <a:r>
                        <a:rPr lang="en-ZA" sz="1100" b="0" kern="120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embe</a:t>
                      </a:r>
                      <a:r>
                        <a:rPr lang="en-ZA" sz="11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Healthcare )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100" b="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5/05/2021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 submission to me made for a rolling</a:t>
                      </a:r>
                      <a:r>
                        <a:rPr lang="en-US" sz="1100" b="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review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7351287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r>
                        <a:rPr lang="en-US" sz="1100" b="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inopharm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LHC Pharmaceutical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11/06/2021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ubmitted application</a:t>
                      </a:r>
                      <a:r>
                        <a:rPr lang="en-US" sz="1100" b="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subsequently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8773608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putnik V</a:t>
                      </a:r>
                    </a:p>
                    <a:p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d-26 and Ad-5</a:t>
                      </a:r>
                      <a:r>
                        <a:rPr lang="en-US" sz="1100" b="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b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Mbabala</a:t>
                      </a:r>
                      <a:r>
                        <a:rPr lang="en-ZA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 Biotech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11/06/2021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Contract with RDIF requested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2489028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b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ZIfivax</a:t>
                      </a:r>
                      <a:r>
                        <a:rPr lang="en-ZA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Advance Medicals/Bliss Pharma 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14/06/2021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ceed</a:t>
                      </a:r>
                      <a:r>
                        <a:rPr lang="en-US" sz="1100" b="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with submission of application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5990143"/>
                  </a:ext>
                </a:extLst>
              </a:tr>
              <a:tr h="548261"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Moderna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Tautomer (Pty) Ltd 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22/06/2021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Intention for booster-No stock of </a:t>
                      </a:r>
                      <a:r>
                        <a:rPr lang="en-ZA" sz="1100" b="0" dirty="0" err="1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Moderna</a:t>
                      </a:r>
                      <a:r>
                        <a:rPr lang="en-ZA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 for 2021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5547793"/>
                  </a:ext>
                </a:extLst>
              </a:tr>
              <a:tr h="548261"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putnik V</a:t>
                      </a:r>
                    </a:p>
                    <a:p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d-26 and Ad-5</a:t>
                      </a:r>
                      <a:r>
                        <a:rPr lang="en-US" sz="1100" b="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E Trade Health Solutions</a:t>
                      </a:r>
                      <a:r>
                        <a:rPr lang="en-ZA" sz="110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 (Pty) Ltd 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3/07/2021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-Trade</a:t>
                      </a:r>
                      <a:r>
                        <a:rPr lang="en-US" sz="1100" b="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rought in MC PHARMA as Applicant for duplicate of Sputnik V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49245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57865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-36512" y="260741"/>
            <a:ext cx="8199900" cy="387798"/>
          </a:xfrm>
        </p:spPr>
        <p:txBody>
          <a:bodyPr>
            <a:noAutofit/>
          </a:bodyPr>
          <a:lstStyle/>
          <a:p>
            <a:r>
              <a:rPr lang="en-US" sz="2400" b="1" dirty="0">
                <a:solidFill>
                  <a:schemeClr val="accent1"/>
                </a:solidFill>
              </a:rPr>
              <a:t>SAHPRA COVID-19 Vaccine Applications and approvals</a:t>
            </a:r>
            <a:endParaRPr lang="en-ZA" sz="2400" b="1" dirty="0">
              <a:solidFill>
                <a:schemeClr val="accent1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4956985"/>
              </p:ext>
            </p:extLst>
          </p:nvPr>
        </p:nvGraphicFramePr>
        <p:xfrm>
          <a:off x="139001" y="771550"/>
          <a:ext cx="7848873" cy="40869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4176">
                  <a:extLst>
                    <a:ext uri="{9D8B030D-6E8A-4147-A177-3AD203B41FA5}">
                      <a16:colId xmlns:a16="http://schemas.microsoft.com/office/drawing/2014/main" val="2077909680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509688014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1875430736"/>
                    </a:ext>
                  </a:extLst>
                </a:gridCol>
                <a:gridCol w="3384377">
                  <a:extLst>
                    <a:ext uri="{9D8B030D-6E8A-4147-A177-3AD203B41FA5}">
                      <a16:colId xmlns:a16="http://schemas.microsoft.com/office/drawing/2014/main" val="2990267631"/>
                    </a:ext>
                  </a:extLst>
                </a:gridCol>
              </a:tblGrid>
              <a:tr h="313289">
                <a:tc>
                  <a:txBody>
                    <a:bodyPr/>
                    <a:lstStyle/>
                    <a:p>
                      <a:r>
                        <a:rPr lang="en-US" sz="1100" dirty="0"/>
                        <a:t>Section 21 for</a:t>
                      </a:r>
                      <a:endParaRPr lang="en-ZA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Applicant</a:t>
                      </a:r>
                      <a:endParaRPr lang="en-ZA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Application Date</a:t>
                      </a:r>
                      <a:endParaRPr lang="en-ZA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Status</a:t>
                      </a:r>
                      <a:endParaRPr lang="en-ZA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8978100"/>
                  </a:ext>
                </a:extLst>
              </a:tr>
              <a:tr h="533319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Z/SII </a:t>
                      </a:r>
                      <a:r>
                        <a:rPr lang="en-US" sz="11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hadOx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NDoH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07/01/2021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ection</a:t>
                      </a:r>
                      <a:r>
                        <a:rPr lang="en-US" sz="1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21 </a:t>
                      </a:r>
                      <a:r>
                        <a:rPr lang="en-US" sz="1100" baseline="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uthorisation</a:t>
                      </a:r>
                      <a:r>
                        <a:rPr lang="en-US" sz="1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Issued 22/01/2021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7527284"/>
                  </a:ext>
                </a:extLst>
              </a:tr>
              <a:tr h="516005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Pfizer/</a:t>
                      </a:r>
                      <a:r>
                        <a:rPr lang="en-US" sz="11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Biontech</a:t>
                      </a:r>
                      <a:endParaRPr lang="en-US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  <a:p>
                      <a:r>
                        <a:rPr lang="en-US" sz="11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omirnaty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Pfizer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03/02/2021</a:t>
                      </a:r>
                      <a:endParaRPr lang="en-US" sz="1100" baseline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  <a:p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ection 21 </a:t>
                      </a:r>
                      <a:r>
                        <a:rPr lang="en-US" sz="11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uthorisation</a:t>
                      </a:r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issued 10/03/2021</a:t>
                      </a:r>
                    </a:p>
                    <a:p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4358674"/>
                  </a:ext>
                </a:extLst>
              </a:tr>
              <a:tr h="44055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J&amp;J Ad-26</a:t>
                      </a:r>
                      <a:endParaRPr lang="en-ZA" sz="1100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Janssen</a:t>
                      </a:r>
                      <a:endParaRPr lang="en-ZA" sz="1100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04/11/ 2020</a:t>
                      </a:r>
                      <a:endParaRPr lang="en-ZA" sz="1100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onditional Market authorization on 30/03/2021</a:t>
                      </a:r>
                      <a:endParaRPr lang="en-ZA" sz="1100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0149598"/>
                  </a:ext>
                </a:extLst>
              </a:tr>
              <a:tr h="348298">
                <a:tc>
                  <a:txBody>
                    <a:bodyPr/>
                    <a:lstStyle/>
                    <a:p>
                      <a:r>
                        <a:rPr lang="en-US" sz="11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inovac</a:t>
                      </a:r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US" sz="11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oronavac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uranto</a:t>
                      </a:r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pharma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10/03/2021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ection 21 </a:t>
                      </a:r>
                      <a:r>
                        <a:rPr lang="en-US" sz="11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uthorisation</a:t>
                      </a:r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issued 02/07/20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4160359"/>
                  </a:ext>
                </a:extLst>
              </a:tr>
              <a:tr h="1664958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putnik V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Lamar pharmaceuticals</a:t>
                      </a:r>
                    </a:p>
                    <a:p>
                      <a:endParaRPr lang="en-US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  <a:p>
                      <a:endParaRPr lang="en-US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  <a:p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23/02/2021</a:t>
                      </a:r>
                    </a:p>
                    <a:p>
                      <a:endParaRPr lang="en-US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  <a:p>
                      <a:endParaRPr lang="en-US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  <a:p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Rolling review and Section 21 application In review. 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1</a:t>
                      </a:r>
                      <a:r>
                        <a:rPr lang="en-US" sz="1100" baseline="300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t</a:t>
                      </a:r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review report to applicant on 29/04/ 2021 + meeting with applicant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2</a:t>
                      </a:r>
                      <a:r>
                        <a:rPr lang="en-US" sz="1100" baseline="300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nd</a:t>
                      </a:r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communication to applicant 05/05/2021</a:t>
                      </a:r>
                    </a:p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equence 0002 submitted on 28 May 2021 </a:t>
                      </a:r>
                    </a:p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equence 0003 submitted on  23</a:t>
                      </a:r>
                      <a:r>
                        <a:rPr lang="en-US" sz="1100" baseline="300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rd</a:t>
                      </a:r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of June 2021</a:t>
                      </a:r>
                    </a:p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equence 0004 responding to inspectorate matters submitted on 28 June 2021</a:t>
                      </a:r>
                    </a:p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equence 0005 was submitted on 29 June 2021</a:t>
                      </a:r>
                    </a:p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All sequences under review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8831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13767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-36512" y="260741"/>
            <a:ext cx="8199900" cy="387798"/>
          </a:xfrm>
        </p:spPr>
        <p:txBody>
          <a:bodyPr>
            <a:noAutofit/>
          </a:bodyPr>
          <a:lstStyle/>
          <a:p>
            <a:r>
              <a:rPr lang="en-US" sz="2400" b="1" dirty="0">
                <a:solidFill>
                  <a:schemeClr val="accent1"/>
                </a:solidFill>
              </a:rPr>
              <a:t>SAHPRA COVID-19 Vaccine Applications and approvals</a:t>
            </a:r>
            <a:endParaRPr lang="en-ZA" sz="2400" b="1" dirty="0">
              <a:solidFill>
                <a:schemeClr val="accent1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7557426"/>
              </p:ext>
            </p:extLst>
          </p:nvPr>
        </p:nvGraphicFramePr>
        <p:xfrm>
          <a:off x="139001" y="648539"/>
          <a:ext cx="7848873" cy="35215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4176">
                  <a:extLst>
                    <a:ext uri="{9D8B030D-6E8A-4147-A177-3AD203B41FA5}">
                      <a16:colId xmlns:a16="http://schemas.microsoft.com/office/drawing/2014/main" val="2077909680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509688014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1875430736"/>
                    </a:ext>
                  </a:extLst>
                </a:gridCol>
                <a:gridCol w="3384377">
                  <a:extLst>
                    <a:ext uri="{9D8B030D-6E8A-4147-A177-3AD203B41FA5}">
                      <a16:colId xmlns:a16="http://schemas.microsoft.com/office/drawing/2014/main" val="2990267631"/>
                    </a:ext>
                  </a:extLst>
                </a:gridCol>
              </a:tblGrid>
              <a:tr h="311349">
                <a:tc>
                  <a:txBody>
                    <a:bodyPr/>
                    <a:lstStyle/>
                    <a:p>
                      <a:r>
                        <a:rPr lang="en-US" sz="1100" dirty="0"/>
                        <a:t>Section 21 for</a:t>
                      </a:r>
                      <a:endParaRPr lang="en-ZA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Applicant</a:t>
                      </a:r>
                      <a:endParaRPr lang="en-ZA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Application Date</a:t>
                      </a:r>
                      <a:endParaRPr lang="en-ZA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Status</a:t>
                      </a:r>
                      <a:endParaRPr lang="en-ZA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8978100"/>
                  </a:ext>
                </a:extLst>
              </a:tr>
              <a:tr h="1117192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putnik V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Dr </a:t>
                      </a:r>
                      <a:r>
                        <a:rPr lang="en-US" sz="11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Reddys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30/04/2021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equence 0002 submitted on 08 June 2021 outstanding sequences of data still awaited</a:t>
                      </a:r>
                      <a:r>
                        <a:rPr lang="en-US" sz="1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from the applicant. Review of the submitted information in progress</a:t>
                      </a:r>
                      <a:endParaRPr lang="en-US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883102"/>
                  </a:ext>
                </a:extLst>
              </a:tr>
              <a:tr h="828118">
                <a:tc>
                  <a:txBody>
                    <a:bodyPr/>
                    <a:lstStyle/>
                    <a:p>
                      <a:r>
                        <a:rPr lang="en-US" sz="11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inopharm</a:t>
                      </a:r>
                      <a:endParaRPr lang="en-ZA" sz="11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LH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22/06/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Rolling Review submission </a:t>
                      </a:r>
                    </a:p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GMP review report  - 12/07/ 2021</a:t>
                      </a:r>
                    </a:p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Technical screening queries -15/07/2021 (Information in Chinese </a:t>
                      </a:r>
                      <a:r>
                        <a:rPr lang="en-US" sz="11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e.t.c</a:t>
                      </a:r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 and request for rolling review submission plan</a:t>
                      </a:r>
                    </a:p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1</a:t>
                      </a:r>
                      <a:r>
                        <a:rPr lang="en-US" sz="1100" baseline="300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t</a:t>
                      </a:r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review report – 23/08/2021</a:t>
                      </a:r>
                    </a:p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1st review report - 19/08/2021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6615370"/>
                  </a:ext>
                </a:extLst>
              </a:tr>
              <a:tr h="828118">
                <a:tc>
                  <a:txBody>
                    <a:bodyPr/>
                    <a:lstStyle/>
                    <a:p>
                      <a:r>
                        <a:rPr lang="en-US" sz="1100" b="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inopharm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MC pharma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08/07/2021</a:t>
                      </a:r>
                      <a:endParaRPr lang="en-ZA" sz="1100" b="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Rolling Review submission </a:t>
                      </a:r>
                    </a:p>
                    <a:p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GMP review report  - 06/08/ 2021</a:t>
                      </a:r>
                    </a:p>
                    <a:p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1</a:t>
                      </a:r>
                      <a:r>
                        <a:rPr lang="en-US" sz="1100" b="0" baseline="300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st</a:t>
                      </a:r>
                      <a:r>
                        <a:rPr lang="en-US" sz="1100" b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review report - 23/08/2021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35833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60136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79512" y="205979"/>
            <a:ext cx="8424936" cy="857250"/>
          </a:xfrm>
        </p:spPr>
        <p:txBody>
          <a:bodyPr>
            <a:normAutofit/>
          </a:bodyPr>
          <a:lstStyle/>
          <a:p>
            <a:r>
              <a:rPr lang="en-US" sz="2200" b="1" dirty="0">
                <a:solidFill>
                  <a:schemeClr val="accent1"/>
                </a:solidFill>
              </a:rPr>
              <a:t>Vaccine effectiveness </a:t>
            </a:r>
            <a:endParaRPr lang="en-ZA" sz="2200" b="1" dirty="0">
              <a:solidFill>
                <a:schemeClr val="accent1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2814464" y="3781767"/>
            <a:ext cx="5213920" cy="950223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1400" b="1" dirty="0">
              <a:solidFill>
                <a:schemeClr val="tx1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ZA" sz="1400" dirty="0">
              <a:solidFill>
                <a:schemeClr val="tx1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US" sz="1200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sz="1200" dirty="0"/>
          </a:p>
          <a:p>
            <a:endParaRPr lang="en-US" sz="1200" dirty="0"/>
          </a:p>
        </p:txBody>
      </p:sp>
      <p:pic>
        <p:nvPicPr>
          <p:cNvPr id="1026" name="5673046b-5e62-47da-b132-2dbf155fb265" descr="Image">
            <a:extLst>
              <a:ext uri="{FF2B5EF4-FFF2-40B4-BE49-F238E27FC236}">
                <a16:creationId xmlns:a16="http://schemas.microsoft.com/office/drawing/2014/main" id="{1EAE72C2-6998-47F0-893F-174DF54EE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843558"/>
            <a:ext cx="7632847" cy="3953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813818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496" y="2870100"/>
            <a:ext cx="10153128" cy="1530900"/>
          </a:xfrm>
        </p:spPr>
        <p:txBody>
          <a:bodyPr/>
          <a:lstStyle/>
          <a:p>
            <a:r>
              <a:rPr lang="en-US" sz="4000" dirty="0"/>
              <a:t>COVID-19 clinical trials update worldwid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881203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b="1" dirty="0">
                <a:solidFill>
                  <a:schemeClr val="accent1"/>
                </a:solidFill>
              </a:rPr>
              <a:t>Contents</a:t>
            </a:r>
            <a:endParaRPr lang="en-ZA" sz="2800" b="1" dirty="0">
              <a:solidFill>
                <a:schemeClr val="accent1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Vaccines authorization process</a:t>
            </a:r>
          </a:p>
          <a:p>
            <a:r>
              <a:rPr lang="en-US" dirty="0"/>
              <a:t>COVID-19 vaccines updates</a:t>
            </a:r>
          </a:p>
          <a:p>
            <a:r>
              <a:rPr lang="en-US" dirty="0"/>
              <a:t>COVID-19 vaccines safety updates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892440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64F44E9-B5C4-47DD-A4FF-E3C9BA0D2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79"/>
            <a:ext cx="7211144" cy="857250"/>
          </a:xfrm>
        </p:spPr>
        <p:txBody>
          <a:bodyPr>
            <a:normAutofit fontScale="90000"/>
          </a:bodyPr>
          <a:lstStyle/>
          <a:p>
            <a:r>
              <a:rPr lang="en-US" sz="2700" b="1" i="0" dirty="0">
                <a:solidFill>
                  <a:srgbClr val="1A1A1A"/>
                </a:solidFill>
                <a:effectLst/>
                <a:latin typeface="Arial" panose="020B0604020202020204" pitchFamily="34" charset="0"/>
              </a:rPr>
              <a:t>WHO COVID-19 vaccine tracker and landscape</a:t>
            </a:r>
            <a:r>
              <a:rPr lang="en-US" b="1" i="0" dirty="0">
                <a:solidFill>
                  <a:srgbClr val="1A1A1A"/>
                </a:solidFill>
                <a:effectLst/>
                <a:latin typeface="Arial" panose="020B0604020202020204" pitchFamily="34" charset="0"/>
              </a:rPr>
              <a:t/>
            </a:r>
            <a:br>
              <a:rPr lang="en-US" b="1" i="0" dirty="0">
                <a:solidFill>
                  <a:srgbClr val="1A1A1A"/>
                </a:solidFill>
                <a:effectLst/>
                <a:latin typeface="Arial" panose="020B0604020202020204" pitchFamily="34" charset="0"/>
              </a:rPr>
            </a:br>
            <a:endParaRPr lang="en-US" dirty="0"/>
          </a:p>
        </p:txBody>
      </p:sp>
      <p:pic>
        <p:nvPicPr>
          <p:cNvPr id="4" name="Picture 3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53F49E40-2AAB-4F73-97FF-EE0CC5F592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20" y="627708"/>
            <a:ext cx="7416824" cy="481402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664366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2870100"/>
            <a:ext cx="8856984" cy="1530900"/>
          </a:xfrm>
        </p:spPr>
        <p:txBody>
          <a:bodyPr/>
          <a:lstStyle/>
          <a:p>
            <a:r>
              <a:rPr lang="en-US" sz="3600" dirty="0"/>
              <a:t>COVID-19 safety report</a:t>
            </a:r>
            <a:r>
              <a:rPr lang="en-US" dirty="0"/>
              <a:t/>
            </a:r>
            <a:br>
              <a:rPr lang="en-US" dirty="0"/>
            </a:b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915499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195486"/>
            <a:ext cx="7355160" cy="857250"/>
          </a:xfrm>
        </p:spPr>
        <p:txBody>
          <a:bodyPr>
            <a:normAutofit/>
          </a:bodyPr>
          <a:lstStyle/>
          <a:p>
            <a:r>
              <a:rPr lang="en-US" sz="2200" b="1" dirty="0">
                <a:solidFill>
                  <a:schemeClr val="accent1"/>
                </a:solidFill>
              </a:rPr>
              <a:t>The </a:t>
            </a:r>
            <a:r>
              <a:rPr lang="en-ZA" sz="2200" b="1" dirty="0">
                <a:solidFill>
                  <a:schemeClr val="accent1"/>
                </a:solidFill>
              </a:rPr>
              <a:t>overall safety monitoring of vaccines – Reporting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536" y="987573"/>
            <a:ext cx="7272808" cy="360040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000" dirty="0">
                <a:solidFill>
                  <a:schemeClr val="accent1">
                    <a:lumMod val="50000"/>
                  </a:schemeClr>
                </a:solidFill>
              </a:rPr>
              <a:t>Tools for reporting</a:t>
            </a:r>
          </a:p>
          <a:p>
            <a:r>
              <a:rPr lang="en-US" sz="2000" dirty="0">
                <a:solidFill>
                  <a:schemeClr val="accent1">
                    <a:lumMod val="50000"/>
                  </a:schemeClr>
                </a:solidFill>
              </a:rPr>
              <a:t>Med Safety App</a:t>
            </a:r>
          </a:p>
          <a:p>
            <a:r>
              <a:rPr lang="en-US" sz="2000" dirty="0">
                <a:solidFill>
                  <a:schemeClr val="accent1">
                    <a:lumMod val="50000"/>
                  </a:schemeClr>
                </a:solidFill>
              </a:rPr>
              <a:t>E-Reporting portal on SAHPRA Website</a:t>
            </a:r>
          </a:p>
          <a:p>
            <a:r>
              <a:rPr lang="en-US" sz="2000" dirty="0">
                <a:solidFill>
                  <a:schemeClr val="accent1">
                    <a:lumMod val="50000"/>
                  </a:schemeClr>
                </a:solidFill>
              </a:rPr>
              <a:t>Paper-Based system</a:t>
            </a:r>
          </a:p>
          <a:p>
            <a:pPr lvl="1"/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Captured into Vigilance Hub – Back office of Med Safety App</a:t>
            </a:r>
          </a:p>
          <a:p>
            <a:pPr lvl="1"/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Captured at district, provincial, National or SAHPRA</a:t>
            </a:r>
          </a:p>
          <a:p>
            <a:pPr lvl="1"/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Vigilance Hub is accessible by both SAHPRA &amp; </a:t>
            </a:r>
            <a:r>
              <a:rPr lang="en-US" dirty="0" err="1">
                <a:solidFill>
                  <a:schemeClr val="accent1">
                    <a:lumMod val="50000"/>
                  </a:schemeClr>
                </a:solidFill>
              </a:rPr>
              <a:t>NDoH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  <a:p>
            <a:pPr lvl="1"/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Data on Vigilance Hub feeds directly into </a:t>
            </a:r>
            <a:r>
              <a:rPr lang="en-US" dirty="0" err="1">
                <a:solidFill>
                  <a:schemeClr val="accent1">
                    <a:lumMod val="50000"/>
                  </a:schemeClr>
                </a:solidFill>
              </a:rPr>
              <a:t>VigiFlow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 system</a:t>
            </a:r>
          </a:p>
          <a:p>
            <a:pPr marL="0" indent="0">
              <a:buNone/>
            </a:pPr>
            <a:endParaRPr lang="en-US" sz="2000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US" sz="120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794376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200" b="1" dirty="0">
                <a:solidFill>
                  <a:schemeClr val="accent1"/>
                </a:solidFill>
              </a:rPr>
              <a:t>The </a:t>
            </a:r>
            <a:r>
              <a:rPr lang="en-ZA" sz="2200" b="1" dirty="0">
                <a:solidFill>
                  <a:schemeClr val="accent1"/>
                </a:solidFill>
              </a:rPr>
              <a:t>overall safety monitoring of vaccin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7575"/>
            <a:ext cx="7211144" cy="3096344"/>
          </a:xfrm>
        </p:spPr>
        <p:txBody>
          <a:bodyPr>
            <a:noAutofit/>
          </a:bodyPr>
          <a:lstStyle/>
          <a:p>
            <a:pPr>
              <a:lnSpc>
                <a:spcPct val="120000"/>
              </a:lnSpc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In 2017, The National Immunisation Safety Expert Committee (NISEC) was appointed</a:t>
            </a:r>
          </a:p>
          <a:p>
            <a:pPr>
              <a:lnSpc>
                <a:spcPct val="120000"/>
              </a:lnSpc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NISEC is a non-statutory standing Ministerial appointed Expert Committee responsible for:</a:t>
            </a:r>
          </a:p>
          <a:p>
            <a:pPr lvl="1">
              <a:lnSpc>
                <a:spcPct val="120000"/>
              </a:lnSpc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Review and assessment of all reported serious and severe adverse events following </a:t>
            </a:r>
            <a:r>
              <a:rPr lang="en-US" sz="1600" dirty="0" err="1">
                <a:solidFill>
                  <a:schemeClr val="accent1">
                    <a:lumMod val="50000"/>
                  </a:schemeClr>
                </a:solidFill>
              </a:rPr>
              <a:t>immunisation</a:t>
            </a: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 (AEFIs)</a:t>
            </a:r>
          </a:p>
          <a:p>
            <a:pPr lvl="1">
              <a:lnSpc>
                <a:spcPct val="120000"/>
              </a:lnSpc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Review of individual serious and unusual AEFIs</a:t>
            </a:r>
          </a:p>
          <a:p>
            <a:pPr lvl="1">
              <a:lnSpc>
                <a:spcPct val="120000"/>
              </a:lnSpc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Perform causality assessment of AEFIs</a:t>
            </a:r>
          </a:p>
          <a:p>
            <a:pPr lvl="1">
              <a:lnSpc>
                <a:spcPct val="120000"/>
              </a:lnSpc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Provide feedback on the causality assessment outcome to relevant stakeholders e.g. SAHPRA</a:t>
            </a:r>
          </a:p>
          <a:p>
            <a:pPr lvl="1">
              <a:lnSpc>
                <a:spcPct val="120000"/>
              </a:lnSpc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Submit recommendations to National Department of Health who also engages with the serious AEFIs reporters</a:t>
            </a:r>
          </a:p>
          <a:p>
            <a:pPr marL="0" indent="0">
              <a:lnSpc>
                <a:spcPct val="120000"/>
              </a:lnSpc>
              <a:buNone/>
            </a:pPr>
            <a:endParaRPr lang="en-US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ZA" sz="1600" dirty="0"/>
          </a:p>
        </p:txBody>
      </p:sp>
    </p:spTree>
    <p:extLst>
      <p:ext uri="{BB962C8B-B14F-4D97-AF65-F5344CB8AC3E}">
        <p14:creationId xmlns:p14="http://schemas.microsoft.com/office/powerpoint/2010/main" val="295933805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7211144" cy="637579"/>
          </a:xfrm>
        </p:spPr>
        <p:txBody>
          <a:bodyPr>
            <a:noAutofit/>
          </a:bodyPr>
          <a:lstStyle/>
          <a:p>
            <a:pPr algn="ctr"/>
            <a:r>
              <a:rPr lang="en-US" sz="2200" b="1" dirty="0">
                <a:solidFill>
                  <a:schemeClr val="accent1"/>
                </a:solidFill>
              </a:rPr>
              <a:t>AEFI Data Analysis</a:t>
            </a:r>
            <a:endParaRPr lang="en-ZA" sz="2200" b="1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09" y="915566"/>
            <a:ext cx="7488835" cy="3456383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US" dirty="0"/>
          </a:p>
          <a:p>
            <a:endParaRPr lang="en-ZA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7835839"/>
              </p:ext>
            </p:extLst>
          </p:nvPr>
        </p:nvGraphicFramePr>
        <p:xfrm>
          <a:off x="179506" y="787617"/>
          <a:ext cx="7488838" cy="28962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4139">
                  <a:extLst>
                    <a:ext uri="{9D8B030D-6E8A-4147-A177-3AD203B41FA5}">
                      <a16:colId xmlns:a16="http://schemas.microsoft.com/office/drawing/2014/main" val="333489774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3285174073"/>
                    </a:ext>
                  </a:extLst>
                </a:gridCol>
                <a:gridCol w="905243">
                  <a:extLst>
                    <a:ext uri="{9D8B030D-6E8A-4147-A177-3AD203B41FA5}">
                      <a16:colId xmlns:a16="http://schemas.microsoft.com/office/drawing/2014/main" val="168186618"/>
                    </a:ext>
                  </a:extLst>
                </a:gridCol>
                <a:gridCol w="894957">
                  <a:extLst>
                    <a:ext uri="{9D8B030D-6E8A-4147-A177-3AD203B41FA5}">
                      <a16:colId xmlns:a16="http://schemas.microsoft.com/office/drawing/2014/main" val="1264872341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3378862249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3937483270"/>
                    </a:ext>
                  </a:extLst>
                </a:gridCol>
                <a:gridCol w="1080123">
                  <a:extLst>
                    <a:ext uri="{9D8B030D-6E8A-4147-A177-3AD203B41FA5}">
                      <a16:colId xmlns:a16="http://schemas.microsoft.com/office/drawing/2014/main" val="4278385339"/>
                    </a:ext>
                  </a:extLst>
                </a:gridCol>
              </a:tblGrid>
              <a:tr h="704013">
                <a:tc>
                  <a:txBody>
                    <a:bodyPr/>
                    <a:lstStyle/>
                    <a:p>
                      <a:r>
                        <a:rPr lang="en-US" sz="1200" dirty="0"/>
                        <a:t>Vaccine name</a:t>
                      </a:r>
                      <a:endParaRPr lang="en-ZA" sz="120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# of ICSRs</a:t>
                      </a:r>
                      <a:endParaRPr lang="en-ZA" sz="120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# of AEFIs</a:t>
                      </a:r>
                      <a:endParaRPr lang="en-ZA" sz="120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# of fatalities</a:t>
                      </a:r>
                      <a:endParaRPr lang="en-ZA" sz="120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# of AESIs</a:t>
                      </a:r>
                      <a:endParaRPr lang="en-ZA" sz="120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otal Vaccinations</a:t>
                      </a:r>
                      <a:endParaRPr lang="en-ZA" sz="120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revalence of death</a:t>
                      </a:r>
                      <a:endParaRPr lang="en-ZA" sz="120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2110295"/>
                  </a:ext>
                </a:extLst>
              </a:tr>
              <a:tr h="849931">
                <a:tc>
                  <a:txBody>
                    <a:bodyPr/>
                    <a:lstStyle/>
                    <a:p>
                      <a:r>
                        <a:rPr lang="en-US" sz="11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omirnaty</a:t>
                      </a:r>
                      <a:r>
                        <a:rPr lang="en-US" sz="1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</a:t>
                      </a:r>
                      <a:endParaRPr lang="en-ZA" sz="11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1249 </a:t>
                      </a:r>
                      <a:r>
                        <a:rPr lang="en-US" sz="11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(67% female; 30% male; 3% unknown)</a:t>
                      </a:r>
                      <a:endParaRPr lang="en-ZA" sz="1100" b="1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2826</a:t>
                      </a:r>
                      <a:endParaRPr lang="en-ZA" sz="1100" b="1" kern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68</a:t>
                      </a:r>
                      <a:endParaRPr lang="en-ZA" sz="11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488</a:t>
                      </a:r>
                      <a:endParaRPr lang="en-ZA" sz="11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7 296 977*</a:t>
                      </a:r>
                      <a:endParaRPr lang="en-ZA" sz="11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0,93/100 000</a:t>
                      </a:r>
                      <a:endParaRPr lang="en-ZA" sz="11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4126283"/>
                  </a:ext>
                </a:extLst>
              </a:tr>
              <a:tr h="849931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OVID-19</a:t>
                      </a:r>
                      <a:r>
                        <a:rPr lang="en-US" sz="1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Vaccine Janssen</a:t>
                      </a:r>
                      <a:endParaRPr lang="en-ZA" sz="11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1055 (74% female; 21% male; 5% unknown)</a:t>
                      </a:r>
                      <a:endParaRPr lang="en-ZA" sz="11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2 758</a:t>
                      </a:r>
                      <a:endParaRPr lang="en-ZA" sz="11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07</a:t>
                      </a:r>
                      <a:endParaRPr lang="en-ZA" sz="11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233</a:t>
                      </a:r>
                      <a:endParaRPr lang="en-ZA" sz="11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1</a:t>
                      </a:r>
                      <a:r>
                        <a:rPr lang="en-US" sz="1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599 924</a:t>
                      </a:r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*</a:t>
                      </a:r>
                      <a:endParaRPr lang="en-ZA" sz="11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0,44/100 000</a:t>
                      </a:r>
                      <a:endParaRPr lang="en-ZA" sz="11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1092136"/>
                  </a:ext>
                </a:extLst>
              </a:tr>
              <a:tr h="492420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Total </a:t>
                      </a:r>
                      <a:endParaRPr lang="en-ZA" sz="11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2304</a:t>
                      </a:r>
                      <a:endParaRPr lang="en-ZA" sz="11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5584</a:t>
                      </a:r>
                      <a:endParaRPr lang="en-ZA" sz="11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75</a:t>
                      </a:r>
                      <a:endParaRPr lang="en-ZA" sz="11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721</a:t>
                      </a:r>
                      <a:endParaRPr lang="en-ZA" sz="11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8</a:t>
                      </a:r>
                      <a:r>
                        <a:rPr lang="en-US" sz="11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896 901</a:t>
                      </a:r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*</a:t>
                      </a:r>
                      <a:endParaRPr lang="en-ZA" sz="11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0,84/100 000</a:t>
                      </a:r>
                      <a:endParaRPr lang="en-ZA" sz="11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0734990"/>
                  </a:ext>
                </a:extLst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166910" y="3821591"/>
            <a:ext cx="4765129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0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*8 896 901= </a:t>
            </a:r>
            <a:r>
              <a:rPr lang="en-US" sz="1000" dirty="0">
                <a:solidFill>
                  <a:schemeClr val="accent1">
                    <a:lumMod val="50000"/>
                  </a:schemeClr>
                </a:solidFill>
              </a:rPr>
              <a:t>5 301 561 </a:t>
            </a:r>
            <a:r>
              <a:rPr lang="en-US" sz="10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sz="1000" baseline="300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</a:t>
            </a:r>
            <a:r>
              <a:rPr lang="en-US" sz="10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ose + 1 995 416 2</a:t>
            </a:r>
            <a:r>
              <a:rPr lang="en-US" sz="1000" baseline="300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d</a:t>
            </a:r>
            <a:r>
              <a:rPr lang="en-US" sz="10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ose</a:t>
            </a:r>
            <a:endParaRPr lang="en-ZA" sz="10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r>
              <a:rPr lang="en-US" sz="10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*1 599 924 = (495 488) Sisonke + 1 589 187 National roll-out</a:t>
            </a:r>
          </a:p>
          <a:p>
            <a:pPr algn="just">
              <a:spcAft>
                <a:spcPts val="0"/>
              </a:spcAft>
            </a:pPr>
            <a:r>
              <a:rPr lang="en-US" sz="1000" dirty="0">
                <a:solidFill>
                  <a:schemeClr val="accent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t should be noted that all the AEFIs reported directly to Sisonke are not available to both SAHPRA &amp; NDoH</a:t>
            </a:r>
          </a:p>
          <a:p>
            <a:pPr algn="just">
              <a:spcAft>
                <a:spcPts val="0"/>
              </a:spcAft>
            </a:pPr>
            <a:r>
              <a:rPr lang="en-US" sz="10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a up to  13 August 2021</a:t>
            </a:r>
          </a:p>
          <a:p>
            <a:pPr algn="just">
              <a:spcAft>
                <a:spcPts val="0"/>
              </a:spcAft>
            </a:pPr>
            <a:r>
              <a:rPr lang="en-US" sz="1000" dirty="0">
                <a:solidFill>
                  <a:schemeClr val="accent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CRS: individual case reports</a:t>
            </a:r>
          </a:p>
          <a:p>
            <a:pPr algn="just">
              <a:spcAft>
                <a:spcPts val="0"/>
              </a:spcAft>
            </a:pPr>
            <a:r>
              <a:rPr lang="en-US" sz="10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ESIs: adverse events of special interest</a:t>
            </a:r>
            <a:endParaRPr lang="en-US" sz="1000" dirty="0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861814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7211144" cy="493563"/>
          </a:xfrm>
        </p:spPr>
        <p:txBody>
          <a:bodyPr>
            <a:noAutofit/>
          </a:bodyPr>
          <a:lstStyle/>
          <a:p>
            <a:pPr algn="ctr"/>
            <a:r>
              <a:rPr lang="en-US" sz="2400" b="1" dirty="0">
                <a:solidFill>
                  <a:schemeClr val="accent1"/>
                </a:solidFill>
              </a:rPr>
              <a:t>AEFI</a:t>
            </a:r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2400" b="1" dirty="0">
                <a:solidFill>
                  <a:schemeClr val="accent1"/>
                </a:solidFill>
              </a:rPr>
              <a:t>Data Analysis</a:t>
            </a:r>
            <a:endParaRPr lang="en-ZA" sz="2400" dirty="0"/>
          </a:p>
        </p:txBody>
      </p:sp>
      <p:graphicFrame>
        <p:nvGraphicFramePr>
          <p:cNvPr id="3" name="Chart 2"/>
          <p:cNvGraphicFramePr>
            <a:graphicFrameLocks/>
          </p:cNvGraphicFramePr>
          <p:nvPr/>
        </p:nvGraphicFramePr>
        <p:xfrm>
          <a:off x="539552" y="843558"/>
          <a:ext cx="6779096" cy="41464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20051969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7211144" cy="565571"/>
          </a:xfrm>
        </p:spPr>
        <p:txBody>
          <a:bodyPr>
            <a:normAutofit/>
          </a:bodyPr>
          <a:lstStyle/>
          <a:p>
            <a:pPr algn="ctr"/>
            <a:r>
              <a:rPr lang="en-US" sz="2400" b="1" dirty="0">
                <a:solidFill>
                  <a:schemeClr val="accent1"/>
                </a:solidFill>
              </a:rPr>
              <a:t>AEFI</a:t>
            </a:r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2400" b="1" dirty="0">
                <a:solidFill>
                  <a:schemeClr val="accent1"/>
                </a:solidFill>
              </a:rPr>
              <a:t>Data Analysis</a:t>
            </a:r>
            <a:endParaRPr lang="en-ZA" sz="2400" dirty="0"/>
          </a:p>
        </p:txBody>
      </p:sp>
      <p:graphicFrame>
        <p:nvGraphicFramePr>
          <p:cNvPr id="5" name="Chart 4"/>
          <p:cNvGraphicFramePr>
            <a:graphicFrameLocks/>
          </p:cNvGraphicFramePr>
          <p:nvPr/>
        </p:nvGraphicFramePr>
        <p:xfrm>
          <a:off x="457200" y="915566"/>
          <a:ext cx="6851104" cy="40324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2312570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200" b="1" dirty="0">
                <a:solidFill>
                  <a:schemeClr val="accent1"/>
                </a:solidFill>
              </a:rPr>
              <a:t>NISEC Causality Assessment</a:t>
            </a:r>
            <a:endParaRPr lang="en-ZA" sz="2200" b="1" dirty="0">
              <a:solidFill>
                <a:schemeClr val="accent1"/>
              </a:solidFill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33149718"/>
              </p:ext>
            </p:extLst>
          </p:nvPr>
        </p:nvGraphicFramePr>
        <p:xfrm>
          <a:off x="482963" y="843558"/>
          <a:ext cx="7113373" cy="15316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0380">
                  <a:extLst>
                    <a:ext uri="{9D8B030D-6E8A-4147-A177-3AD203B41FA5}">
                      <a16:colId xmlns:a16="http://schemas.microsoft.com/office/drawing/2014/main" val="13472752"/>
                    </a:ext>
                  </a:extLst>
                </a:gridCol>
                <a:gridCol w="1425889">
                  <a:extLst>
                    <a:ext uri="{9D8B030D-6E8A-4147-A177-3AD203B41FA5}">
                      <a16:colId xmlns:a16="http://schemas.microsoft.com/office/drawing/2014/main" val="3020675400"/>
                    </a:ext>
                  </a:extLst>
                </a:gridCol>
                <a:gridCol w="1575982">
                  <a:extLst>
                    <a:ext uri="{9D8B030D-6E8A-4147-A177-3AD203B41FA5}">
                      <a16:colId xmlns:a16="http://schemas.microsoft.com/office/drawing/2014/main" val="1306196265"/>
                    </a:ext>
                  </a:extLst>
                </a:gridCol>
                <a:gridCol w="1801122">
                  <a:extLst>
                    <a:ext uri="{9D8B030D-6E8A-4147-A177-3AD203B41FA5}">
                      <a16:colId xmlns:a16="http://schemas.microsoft.com/office/drawing/2014/main" val="2425686144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r>
                        <a:rPr lang="en-US" sz="1400" baseline="0" dirty="0"/>
                        <a:t>Cases with NISEC</a:t>
                      </a:r>
                      <a:endParaRPr lang="en-ZA" sz="140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aseline="0" dirty="0"/>
                        <a:t>Death cases </a:t>
                      </a:r>
                      <a:endParaRPr lang="en-ZA" sz="140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aseline="0" dirty="0"/>
                        <a:t>Other cases</a:t>
                      </a:r>
                      <a:endParaRPr lang="en-ZA" sz="140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otal number</a:t>
                      </a:r>
                      <a:r>
                        <a:rPr lang="en-US" sz="1400" baseline="0" dirty="0"/>
                        <a:t> of cases</a:t>
                      </a:r>
                      <a:endParaRPr lang="en-ZA" sz="140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2343881"/>
                  </a:ext>
                </a:extLst>
              </a:tr>
              <a:tr h="390540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ases causality assessed </a:t>
                      </a:r>
                      <a:endParaRPr lang="en-ZA" sz="14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32</a:t>
                      </a:r>
                      <a:endParaRPr lang="en-ZA" sz="14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65</a:t>
                      </a:r>
                      <a:endParaRPr lang="en-ZA" sz="14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97</a:t>
                      </a:r>
                      <a:endParaRPr lang="en-ZA" sz="14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96090411"/>
                  </a:ext>
                </a:extLst>
              </a:tr>
              <a:tr h="390540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Follow-up cases</a:t>
                      </a:r>
                      <a:endParaRPr lang="en-ZA" sz="14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14</a:t>
                      </a:r>
                      <a:endParaRPr lang="en-ZA" sz="14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20</a:t>
                      </a:r>
                      <a:endParaRPr lang="en-ZA" sz="14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34</a:t>
                      </a:r>
                      <a:endParaRPr lang="en-ZA" sz="14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356199"/>
                  </a:ext>
                </a:extLst>
              </a:tr>
              <a:tr h="390540">
                <a:tc>
                  <a:txBody>
                    <a:bodyPr/>
                    <a:lstStyle/>
                    <a:p>
                      <a:r>
                        <a:rPr lang="en-US" sz="1400" kern="12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ases</a:t>
                      </a:r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under review</a:t>
                      </a:r>
                      <a:endParaRPr lang="en-ZA" sz="14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5</a:t>
                      </a:r>
                      <a:endParaRPr lang="en-ZA" sz="14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22</a:t>
                      </a:r>
                      <a:endParaRPr lang="en-ZA" sz="14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27</a:t>
                      </a:r>
                      <a:endParaRPr lang="en-ZA" sz="14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8970954"/>
                  </a:ext>
                </a:extLst>
              </a:tr>
            </a:tbl>
          </a:graphicData>
        </a:graphic>
      </p:graphicFrame>
      <p:graphicFrame>
        <p:nvGraphicFramePr>
          <p:cNvPr id="6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8593522"/>
              </p:ext>
            </p:extLst>
          </p:nvPr>
        </p:nvGraphicFramePr>
        <p:xfrm>
          <a:off x="479583" y="2375218"/>
          <a:ext cx="7116753" cy="11875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2786">
                  <a:extLst>
                    <a:ext uri="{9D8B030D-6E8A-4147-A177-3AD203B41FA5}">
                      <a16:colId xmlns:a16="http://schemas.microsoft.com/office/drawing/2014/main" val="13472752"/>
                    </a:ext>
                  </a:extLst>
                </a:gridCol>
                <a:gridCol w="1447963">
                  <a:extLst>
                    <a:ext uri="{9D8B030D-6E8A-4147-A177-3AD203B41FA5}">
                      <a16:colId xmlns:a16="http://schemas.microsoft.com/office/drawing/2014/main" val="3020675400"/>
                    </a:ext>
                  </a:extLst>
                </a:gridCol>
                <a:gridCol w="1570802">
                  <a:extLst>
                    <a:ext uri="{9D8B030D-6E8A-4147-A177-3AD203B41FA5}">
                      <a16:colId xmlns:a16="http://schemas.microsoft.com/office/drawing/2014/main" val="1508399063"/>
                    </a:ext>
                  </a:extLst>
                </a:gridCol>
                <a:gridCol w="1795202">
                  <a:extLst>
                    <a:ext uri="{9D8B030D-6E8A-4147-A177-3AD203B41FA5}">
                      <a16:colId xmlns:a16="http://schemas.microsoft.com/office/drawing/2014/main" val="944811770"/>
                    </a:ext>
                  </a:extLst>
                </a:gridCol>
              </a:tblGrid>
              <a:tr h="360041">
                <a:tc>
                  <a:txBody>
                    <a:bodyPr/>
                    <a:lstStyle/>
                    <a:p>
                      <a:r>
                        <a:rPr lang="en-US" sz="1400" dirty="0"/>
                        <a:t>Causality</a:t>
                      </a:r>
                      <a:r>
                        <a:rPr lang="en-US" sz="1400" baseline="0" dirty="0"/>
                        <a:t> assessed</a:t>
                      </a:r>
                      <a:endParaRPr lang="en-ZA" sz="140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aseline="0" dirty="0"/>
                        <a:t>Death cases</a:t>
                      </a:r>
                      <a:endParaRPr lang="en-ZA" sz="140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Other cases</a:t>
                      </a:r>
                      <a:endParaRPr lang="en-ZA" sz="140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Total number of cases</a:t>
                      </a:r>
                      <a:endParaRPr lang="en-ZA" sz="140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2343881"/>
                  </a:ext>
                </a:extLst>
              </a:tr>
              <a:tr h="413748">
                <a:tc>
                  <a:txBody>
                    <a:bodyPr/>
                    <a:lstStyle/>
                    <a:p>
                      <a:r>
                        <a:rPr lang="en-US" sz="1400" dirty="0" err="1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Comirnaty</a:t>
                      </a:r>
                      <a:endParaRPr lang="en-ZA" sz="14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29</a:t>
                      </a:r>
                      <a:endParaRPr lang="en-ZA" sz="14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25</a:t>
                      </a:r>
                      <a:endParaRPr lang="en-ZA" sz="14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54</a:t>
                      </a:r>
                      <a:endParaRPr lang="en-ZA" sz="14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96090411"/>
                  </a:ext>
                </a:extLst>
              </a:tr>
              <a:tr h="413748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J&amp;J</a:t>
                      </a:r>
                      <a:r>
                        <a:rPr lang="en-US" sz="14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 Vaccine</a:t>
                      </a:r>
                      <a:endParaRPr lang="en-ZA" sz="14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3</a:t>
                      </a:r>
                      <a:endParaRPr lang="en-ZA" sz="14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31</a:t>
                      </a:r>
                      <a:endParaRPr lang="en-ZA" sz="14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34</a:t>
                      </a:r>
                      <a:endParaRPr lang="en-ZA" sz="14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356199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457200" y="3562755"/>
            <a:ext cx="310668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50000"/>
                  </a:schemeClr>
                </a:solidFill>
              </a:rPr>
              <a:t>Outcome of death c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50000"/>
                  </a:schemeClr>
                </a:solidFill>
              </a:rPr>
              <a:t>30 cases are co-incident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50000"/>
                  </a:schemeClr>
                </a:solidFill>
              </a:rPr>
              <a:t>2 insufficient information provid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4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923928" y="3538291"/>
            <a:ext cx="349156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tx1">
                    <a:lumMod val="50000"/>
                  </a:schemeClr>
                </a:solidFill>
              </a:rPr>
              <a:t>Other cases under assess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50000"/>
                  </a:schemeClr>
                </a:solidFill>
              </a:rPr>
              <a:t>Myocarditis/pericardit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50000"/>
                  </a:schemeClr>
                </a:solidFill>
              </a:rPr>
              <a:t>Capillary leak syndr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50000"/>
                  </a:schemeClr>
                </a:solidFill>
              </a:rPr>
              <a:t>Guillain-Barre Syndr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50000"/>
                  </a:schemeClr>
                </a:solidFill>
              </a:rPr>
              <a:t>Vascular disorders </a:t>
            </a:r>
            <a:r>
              <a:rPr lang="en-US" sz="1400" dirty="0" err="1">
                <a:solidFill>
                  <a:schemeClr val="tx1">
                    <a:lumMod val="50000"/>
                  </a:schemeClr>
                </a:solidFill>
              </a:rPr>
              <a:t>etc</a:t>
            </a:r>
            <a:endParaRPr lang="en-US" sz="1400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159524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1840" y="3435846"/>
            <a:ext cx="4388024" cy="1230596"/>
          </a:xfrm>
        </p:spPr>
        <p:txBody>
          <a:bodyPr/>
          <a:lstStyle/>
          <a:p>
            <a:r>
              <a:rPr lang="en-GB" sz="3200"/>
              <a:t>Thank you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5124379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ccines authorization process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115854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3914" y="1"/>
            <a:ext cx="7211144" cy="699542"/>
          </a:xfrm>
        </p:spPr>
        <p:txBody>
          <a:bodyPr>
            <a:noAutofit/>
          </a:bodyPr>
          <a:lstStyle/>
          <a:p>
            <a:r>
              <a:rPr lang="en-US" sz="2400" b="1" dirty="0">
                <a:solidFill>
                  <a:schemeClr val="accent1"/>
                </a:solidFill>
                <a:sym typeface="+mj-lt"/>
              </a:rPr>
              <a:t>Key steps of COVID-19 vaccine assessment</a:t>
            </a:r>
            <a:endParaRPr lang="en-ZA" sz="2400" b="1" dirty="0">
              <a:solidFill>
                <a:schemeClr val="accent1"/>
              </a:solidFill>
              <a:sym typeface="+mj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C0EDA9-44A7-4F8C-850F-98E6B4DE50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6384" y="788376"/>
            <a:ext cx="3792979" cy="4185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33952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227A78-76FA-44BC-85F2-39A40EDC310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64"/>
          <a:stretch/>
        </p:blipFill>
        <p:spPr>
          <a:xfrm>
            <a:off x="154248" y="367255"/>
            <a:ext cx="2360351" cy="465155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84C54E8-8FC9-42E1-B847-2CEE57121F1E}"/>
              </a:ext>
            </a:extLst>
          </p:cNvPr>
          <p:cNvSpPr txBox="1"/>
          <p:nvPr/>
        </p:nvSpPr>
        <p:spPr>
          <a:xfrm>
            <a:off x="3321627" y="205689"/>
            <a:ext cx="3757822" cy="10988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spcBef>
                <a:spcPct val="0"/>
              </a:spcBef>
              <a:buNone/>
              <a:defRPr sz="3200" b="1">
                <a:solidFill>
                  <a:srgbClr val="0077A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ZA" sz="2400" dirty="0"/>
              <a:t>Assessment of cGMP</a:t>
            </a:r>
            <a:endParaRPr lang="en-GB" sz="2400" dirty="0"/>
          </a:p>
        </p:txBody>
      </p:sp>
      <p:sp>
        <p:nvSpPr>
          <p:cNvPr id="7" name="Arrow: Down 6">
            <a:extLst>
              <a:ext uri="{FF2B5EF4-FFF2-40B4-BE49-F238E27FC236}">
                <a16:creationId xmlns:a16="http://schemas.microsoft.com/office/drawing/2014/main" id="{2C32D4B7-E838-457D-9AFA-BC87BCEFF015}"/>
              </a:ext>
            </a:extLst>
          </p:cNvPr>
          <p:cNvSpPr/>
          <p:nvPr/>
        </p:nvSpPr>
        <p:spPr>
          <a:xfrm>
            <a:off x="4584005" y="1130108"/>
            <a:ext cx="387927" cy="461665"/>
          </a:xfrm>
          <a:prstGeom prst="downArrow">
            <a:avLst/>
          </a:prstGeom>
          <a:gradFill flip="none" rotWithShape="1">
            <a:gsLst>
              <a:gs pos="0">
                <a:srgbClr val="0077A0">
                  <a:shade val="30000"/>
                  <a:satMod val="115000"/>
                </a:srgbClr>
              </a:gs>
              <a:gs pos="50000">
                <a:srgbClr val="0077A0">
                  <a:shade val="67500"/>
                  <a:satMod val="115000"/>
                </a:srgbClr>
              </a:gs>
              <a:gs pos="100000">
                <a:srgbClr val="0077A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37B44F-D930-4C2A-AE08-31E83F17D631}"/>
              </a:ext>
            </a:extLst>
          </p:cNvPr>
          <p:cNvSpPr txBox="1"/>
          <p:nvPr/>
        </p:nvSpPr>
        <p:spPr>
          <a:xfrm>
            <a:off x="3761507" y="1656454"/>
            <a:ext cx="22721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400" b="1" dirty="0"/>
              <a:t>Compliance of Good Manufacturing Practice</a:t>
            </a:r>
            <a:endParaRPr lang="en-GB" sz="1400" b="1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D4BD41C-0285-4BF6-B50D-74F069D86BF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9509" y="2423754"/>
            <a:ext cx="3796145" cy="68226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E9D8517-0AAD-4202-B918-0A1BAEFAC58E}"/>
              </a:ext>
            </a:extLst>
          </p:cNvPr>
          <p:cNvSpPr txBox="1"/>
          <p:nvPr/>
        </p:nvSpPr>
        <p:spPr>
          <a:xfrm>
            <a:off x="3321627" y="2503277"/>
            <a:ext cx="31519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400" dirty="0">
                <a:solidFill>
                  <a:schemeClr val="bg1"/>
                </a:solidFill>
              </a:rPr>
              <a:t>Sites producing drug substance (DS), drug product(DP), filling, packing, testing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684D957-E816-4B39-8CEC-0CA1FCC3E04F}"/>
              </a:ext>
            </a:extLst>
          </p:cNvPr>
          <p:cNvSpPr txBox="1"/>
          <p:nvPr/>
        </p:nvSpPr>
        <p:spPr>
          <a:xfrm>
            <a:off x="3183081" y="3836963"/>
            <a:ext cx="36125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100" b="1" dirty="0">
                <a:solidFill>
                  <a:schemeClr val="tx1">
                    <a:lumMod val="50000"/>
                  </a:schemeClr>
                </a:solidFill>
              </a:rPr>
              <a:t>Inspections performed at sites that are not </a:t>
            </a:r>
            <a:r>
              <a:rPr lang="en-US" sz="1100" b="1" dirty="0" err="1">
                <a:solidFill>
                  <a:schemeClr val="tx1">
                    <a:lumMod val="50000"/>
                  </a:schemeClr>
                </a:solidFill>
              </a:rPr>
              <a:t>GMP</a:t>
            </a:r>
            <a:r>
              <a:rPr lang="en-US" sz="1100" b="1" dirty="0">
                <a:solidFill>
                  <a:schemeClr val="tx1">
                    <a:lumMod val="50000"/>
                  </a:schemeClr>
                </a:solidFill>
              </a:rPr>
              <a:t> certified must be executed by an authority </a:t>
            </a:r>
            <a:r>
              <a:rPr lang="en-US" sz="1100" b="1" dirty="0" err="1">
                <a:solidFill>
                  <a:schemeClr val="tx1">
                    <a:lumMod val="50000"/>
                  </a:schemeClr>
                </a:solidFill>
              </a:rPr>
              <a:t>SAHPRA</a:t>
            </a:r>
            <a:r>
              <a:rPr lang="en-US" sz="1100" b="1" dirty="0">
                <a:solidFill>
                  <a:schemeClr val="tx1">
                    <a:lumMod val="50000"/>
                  </a:schemeClr>
                </a:solidFill>
              </a:rPr>
              <a:t> aligns with</a:t>
            </a:r>
          </a:p>
          <a:p>
            <a:pPr algn="ctr"/>
            <a:endParaRPr lang="en-GB" sz="1200" b="1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0B24C26-E1F4-41FC-A5D3-9BFE32B34B6B}"/>
              </a:ext>
            </a:extLst>
          </p:cNvPr>
          <p:cNvCxnSpPr>
            <a:cxnSpLocks/>
          </p:cNvCxnSpPr>
          <p:nvPr/>
        </p:nvCxnSpPr>
        <p:spPr>
          <a:xfrm>
            <a:off x="2514599" y="0"/>
            <a:ext cx="0" cy="51435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D9559F6C-325B-4BD4-93A5-3786D671A713}"/>
              </a:ext>
            </a:extLst>
          </p:cNvPr>
          <p:cNvSpPr txBox="1"/>
          <p:nvPr/>
        </p:nvSpPr>
        <p:spPr>
          <a:xfrm>
            <a:off x="3183081" y="3208004"/>
            <a:ext cx="3757822" cy="10988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spcBef>
                <a:spcPct val="0"/>
              </a:spcBef>
              <a:buNone/>
              <a:defRPr sz="3200" b="1">
                <a:solidFill>
                  <a:srgbClr val="0077A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ZA" sz="1600" dirty="0"/>
              <a:t>NOTE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28148133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05057C7A-4C46-4604-909C-47544E08B82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0543" y="1717964"/>
            <a:ext cx="3796145" cy="4616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8A7DFF7-FFE0-46FD-ABA0-BA0A60CBEE5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667"/>
          <a:stretch/>
        </p:blipFill>
        <p:spPr>
          <a:xfrm>
            <a:off x="265886" y="512617"/>
            <a:ext cx="2248711" cy="4256809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45CD61B-764C-42E2-B006-4AEB0A331D03}"/>
              </a:ext>
            </a:extLst>
          </p:cNvPr>
          <p:cNvCxnSpPr>
            <a:cxnSpLocks/>
          </p:cNvCxnSpPr>
          <p:nvPr/>
        </p:nvCxnSpPr>
        <p:spPr>
          <a:xfrm>
            <a:off x="2514599" y="0"/>
            <a:ext cx="0" cy="51435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085D0987-E7CE-475E-A9F4-14FF4C2AD114}"/>
              </a:ext>
            </a:extLst>
          </p:cNvPr>
          <p:cNvSpPr txBox="1"/>
          <p:nvPr/>
        </p:nvSpPr>
        <p:spPr>
          <a:xfrm>
            <a:off x="3282661" y="520776"/>
            <a:ext cx="34359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400" b="1" dirty="0">
                <a:solidFill>
                  <a:srgbClr val="0077A0"/>
                </a:solidFill>
              </a:rPr>
              <a:t>Assessment of CMC</a:t>
            </a:r>
            <a:endParaRPr lang="en-GB" sz="2400" b="1" dirty="0">
              <a:solidFill>
                <a:srgbClr val="0077A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2049E50-84FD-4E0B-B435-E6C65233B3CB}"/>
              </a:ext>
            </a:extLst>
          </p:cNvPr>
          <p:cNvSpPr txBox="1"/>
          <p:nvPr/>
        </p:nvSpPr>
        <p:spPr>
          <a:xfrm>
            <a:off x="3052329" y="1795233"/>
            <a:ext cx="36125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400" b="1" dirty="0">
                <a:solidFill>
                  <a:schemeClr val="bg1"/>
                </a:solidFill>
              </a:rPr>
              <a:t>CHEMISTRY | MANUFACTURING  |  CONTROL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E75E332-3D8C-47BE-B241-7F04B25A0C89}"/>
              </a:ext>
            </a:extLst>
          </p:cNvPr>
          <p:cNvSpPr txBox="1"/>
          <p:nvPr/>
        </p:nvSpPr>
        <p:spPr>
          <a:xfrm>
            <a:off x="3282661" y="3204350"/>
            <a:ext cx="31519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400" dirty="0">
                <a:solidFill>
                  <a:schemeClr val="bg1"/>
                </a:solidFill>
              </a:rPr>
              <a:t>Sites producing drug substance (DS), drug product(DP), filling, packing, testing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3DFD05E-B818-4C0D-B03A-6D4F4D11A166}"/>
              </a:ext>
            </a:extLst>
          </p:cNvPr>
          <p:cNvSpPr txBox="1"/>
          <p:nvPr/>
        </p:nvSpPr>
        <p:spPr>
          <a:xfrm>
            <a:off x="2960543" y="2874818"/>
            <a:ext cx="3796144" cy="2176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lnSpc>
                <a:spcPct val="114000"/>
              </a:lnSpc>
              <a:buClr>
                <a:srgbClr val="52C2B7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>
                    <a:lumMod val="50000"/>
                  </a:schemeClr>
                </a:solidFill>
              </a:rPr>
              <a:t>MANUFACTURED</a:t>
            </a:r>
          </a:p>
          <a:p>
            <a:pPr marL="171450" indent="-171450" algn="just">
              <a:lnSpc>
                <a:spcPct val="114000"/>
              </a:lnSpc>
              <a:buClr>
                <a:srgbClr val="52C2B7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>
                    <a:lumMod val="50000"/>
                  </a:schemeClr>
                </a:solidFill>
              </a:rPr>
              <a:t>CHARACTERIZED</a:t>
            </a:r>
          </a:p>
          <a:p>
            <a:pPr marL="171450" indent="-171450" algn="just">
              <a:lnSpc>
                <a:spcPct val="114000"/>
              </a:lnSpc>
              <a:buClr>
                <a:srgbClr val="52C2B7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>
                    <a:lumMod val="50000"/>
                  </a:schemeClr>
                </a:solidFill>
              </a:rPr>
              <a:t>IMPURITIES ARE CONTROLLED</a:t>
            </a:r>
          </a:p>
          <a:p>
            <a:pPr marL="171450" indent="-171450" algn="just">
              <a:lnSpc>
                <a:spcPct val="114000"/>
              </a:lnSpc>
              <a:buClr>
                <a:srgbClr val="52C2B7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>
                    <a:lumMod val="50000"/>
                  </a:schemeClr>
                </a:solidFill>
              </a:rPr>
              <a:t>CONTROL TESTS AND LIMITS ARE JUSTIFIED</a:t>
            </a:r>
          </a:p>
          <a:p>
            <a:pPr marL="171450" indent="-171450" algn="just">
              <a:lnSpc>
                <a:spcPct val="114000"/>
              </a:lnSpc>
              <a:buClr>
                <a:srgbClr val="52C2B7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>
                    <a:lumMod val="50000"/>
                  </a:schemeClr>
                </a:solidFill>
              </a:rPr>
              <a:t>TEST METHODS ARE USED</a:t>
            </a:r>
          </a:p>
          <a:p>
            <a:pPr marL="171450" indent="-171450" algn="just">
              <a:lnSpc>
                <a:spcPct val="114000"/>
              </a:lnSpc>
              <a:buClr>
                <a:srgbClr val="52C2B7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>
                    <a:lumMod val="50000"/>
                  </a:schemeClr>
                </a:solidFill>
              </a:rPr>
              <a:t>TESTS ARE VALIDATED</a:t>
            </a:r>
          </a:p>
          <a:p>
            <a:pPr marL="171450" indent="-171450" algn="just">
              <a:lnSpc>
                <a:spcPct val="114000"/>
              </a:lnSpc>
              <a:buClr>
                <a:srgbClr val="52C2B7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>
                    <a:lumMod val="50000"/>
                  </a:schemeClr>
                </a:solidFill>
              </a:rPr>
              <a:t>STANDARDS ARE REFERENCED AND USED</a:t>
            </a:r>
          </a:p>
          <a:p>
            <a:pPr marL="171450" indent="-171450" algn="just">
              <a:lnSpc>
                <a:spcPct val="114000"/>
              </a:lnSpc>
              <a:buClr>
                <a:srgbClr val="52C2B7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>
                    <a:lumMod val="50000"/>
                  </a:schemeClr>
                </a:solidFill>
              </a:rPr>
              <a:t>PACKAGED – PACKING MATERIALS AND STABILITY</a:t>
            </a:r>
          </a:p>
          <a:p>
            <a:pPr algn="just"/>
            <a:endParaRPr lang="en-US" sz="1200" dirty="0">
              <a:solidFill>
                <a:schemeClr val="tx1">
                  <a:lumMod val="50000"/>
                </a:schemeClr>
              </a:solidFill>
            </a:endParaRPr>
          </a:p>
          <a:p>
            <a:pPr algn="ctr"/>
            <a:endParaRPr lang="en-GB" sz="1400" b="1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959BE6B-17CB-418F-B66A-DEBC5AA190BA}"/>
              </a:ext>
            </a:extLst>
          </p:cNvPr>
          <p:cNvSpPr txBox="1"/>
          <p:nvPr/>
        </p:nvSpPr>
        <p:spPr>
          <a:xfrm>
            <a:off x="2960543" y="2461157"/>
            <a:ext cx="379614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100" b="1" dirty="0">
                <a:solidFill>
                  <a:srgbClr val="52C2B7"/>
                </a:solidFill>
              </a:rPr>
              <a:t>FOCUS ON HOW DS AND DP ARE </a:t>
            </a:r>
            <a:endParaRPr lang="en-GB" sz="2100" b="1" dirty="0">
              <a:solidFill>
                <a:srgbClr val="52C2B7"/>
              </a:solidFill>
            </a:endParaRPr>
          </a:p>
        </p:txBody>
      </p:sp>
      <p:sp>
        <p:nvSpPr>
          <p:cNvPr id="14" name="Arrow: Down 13">
            <a:extLst>
              <a:ext uri="{FF2B5EF4-FFF2-40B4-BE49-F238E27FC236}">
                <a16:creationId xmlns:a16="http://schemas.microsoft.com/office/drawing/2014/main" id="{88FB4728-C2D4-4005-95FC-06D0C41A33C9}"/>
              </a:ext>
            </a:extLst>
          </p:cNvPr>
          <p:cNvSpPr/>
          <p:nvPr/>
        </p:nvSpPr>
        <p:spPr>
          <a:xfrm>
            <a:off x="4378036" y="1033136"/>
            <a:ext cx="387927" cy="461665"/>
          </a:xfrm>
          <a:prstGeom prst="downArrow">
            <a:avLst/>
          </a:prstGeom>
          <a:gradFill flip="none" rotWithShape="1">
            <a:gsLst>
              <a:gs pos="0">
                <a:srgbClr val="0077A0">
                  <a:shade val="30000"/>
                  <a:satMod val="115000"/>
                </a:srgbClr>
              </a:gs>
              <a:gs pos="50000">
                <a:srgbClr val="0077A0">
                  <a:shade val="67500"/>
                  <a:satMod val="115000"/>
                </a:srgbClr>
              </a:gs>
              <a:gs pos="100000">
                <a:srgbClr val="0077A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79742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3914" y="1"/>
            <a:ext cx="7211144" cy="699542"/>
          </a:xfrm>
        </p:spPr>
        <p:txBody>
          <a:bodyPr>
            <a:noAutofit/>
          </a:bodyPr>
          <a:lstStyle/>
          <a:p>
            <a:r>
              <a:rPr lang="en-US" sz="2400" b="1" dirty="0">
                <a:solidFill>
                  <a:schemeClr val="accent1"/>
                </a:solidFill>
                <a:sym typeface="+mj-lt"/>
              </a:rPr>
              <a:t>Key steps of COVID-19 vaccine assessment</a:t>
            </a:r>
            <a:endParaRPr lang="en-ZA" sz="2400" b="1" dirty="0">
              <a:solidFill>
                <a:schemeClr val="accent1"/>
              </a:solidFill>
              <a:sym typeface="+mj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C0EDA9-44A7-4F8C-850F-98E6B4DE50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6384" y="788376"/>
            <a:ext cx="3792979" cy="4185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4528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B7593B3-4FA2-49F7-A7AD-A1A53A45DAA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389"/>
          <a:stretch/>
        </p:blipFill>
        <p:spPr>
          <a:xfrm>
            <a:off x="172604" y="138545"/>
            <a:ext cx="2458329" cy="4866409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45CD61B-764C-42E2-B006-4AEB0A331D03}"/>
              </a:ext>
            </a:extLst>
          </p:cNvPr>
          <p:cNvCxnSpPr>
            <a:cxnSpLocks/>
          </p:cNvCxnSpPr>
          <p:nvPr/>
        </p:nvCxnSpPr>
        <p:spPr>
          <a:xfrm>
            <a:off x="2514599" y="0"/>
            <a:ext cx="0" cy="51435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D72B99D4-2813-44E9-9B42-A048A7A7C65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4856" y="1323112"/>
            <a:ext cx="3796145" cy="46166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4F57639-9324-4A39-9E68-3B5A6566BE0B}"/>
              </a:ext>
            </a:extLst>
          </p:cNvPr>
          <p:cNvSpPr txBox="1"/>
          <p:nvPr/>
        </p:nvSpPr>
        <p:spPr>
          <a:xfrm>
            <a:off x="2797331" y="240353"/>
            <a:ext cx="43511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400" b="1" dirty="0">
                <a:solidFill>
                  <a:srgbClr val="0077A0"/>
                </a:solidFill>
              </a:rPr>
              <a:t>CLINICAL STUDIES ASSESSMENT</a:t>
            </a:r>
            <a:endParaRPr lang="en-GB" sz="2400" b="1" dirty="0">
              <a:solidFill>
                <a:srgbClr val="0077A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E60B7E9-67CF-4348-93EA-9635365C5DA8}"/>
              </a:ext>
            </a:extLst>
          </p:cNvPr>
          <p:cNvSpPr txBox="1"/>
          <p:nvPr/>
        </p:nvSpPr>
        <p:spPr>
          <a:xfrm>
            <a:off x="3166642" y="1400381"/>
            <a:ext cx="36125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400" b="1" dirty="0">
                <a:solidFill>
                  <a:schemeClr val="bg1"/>
                </a:solidFill>
              </a:rPr>
              <a:t>ASSESSMENT OF SAFETY DATA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1F8B538-370A-47BA-A09B-82A6AB305678}"/>
              </a:ext>
            </a:extLst>
          </p:cNvPr>
          <p:cNvSpPr txBox="1"/>
          <p:nvPr/>
        </p:nvSpPr>
        <p:spPr>
          <a:xfrm>
            <a:off x="3396974" y="3945571"/>
            <a:ext cx="31519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400" dirty="0">
                <a:solidFill>
                  <a:schemeClr val="bg1"/>
                </a:solidFill>
              </a:rPr>
              <a:t>Sites producing drug substance (DS), drug product(DP), filling, packing, testing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15" name="Arrow: Down 14">
            <a:extLst>
              <a:ext uri="{FF2B5EF4-FFF2-40B4-BE49-F238E27FC236}">
                <a16:creationId xmlns:a16="http://schemas.microsoft.com/office/drawing/2014/main" id="{EBE72B6E-33D2-44B7-8C8B-48B782D5F567}"/>
              </a:ext>
            </a:extLst>
          </p:cNvPr>
          <p:cNvSpPr/>
          <p:nvPr/>
        </p:nvSpPr>
        <p:spPr>
          <a:xfrm>
            <a:off x="4778965" y="727834"/>
            <a:ext cx="387927" cy="461665"/>
          </a:xfrm>
          <a:prstGeom prst="downArrow">
            <a:avLst/>
          </a:prstGeom>
          <a:gradFill flip="none" rotWithShape="1">
            <a:gsLst>
              <a:gs pos="0">
                <a:srgbClr val="0077A0">
                  <a:shade val="30000"/>
                  <a:satMod val="115000"/>
                </a:srgbClr>
              </a:gs>
              <a:gs pos="50000">
                <a:srgbClr val="0077A0">
                  <a:shade val="67500"/>
                  <a:satMod val="115000"/>
                </a:srgbClr>
              </a:gs>
              <a:gs pos="100000">
                <a:srgbClr val="0077A0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7EECADE-504E-429A-BA7C-47AD2A352F0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4856" y="2439863"/>
            <a:ext cx="3796145" cy="461665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31C345E-8D3B-4098-BF1B-6D24D81C61C7}"/>
              </a:ext>
            </a:extLst>
          </p:cNvPr>
          <p:cNvSpPr txBox="1"/>
          <p:nvPr/>
        </p:nvSpPr>
        <p:spPr>
          <a:xfrm>
            <a:off x="3166642" y="2517132"/>
            <a:ext cx="36125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400" b="1" dirty="0">
                <a:solidFill>
                  <a:schemeClr val="bg1"/>
                </a:solidFill>
              </a:rPr>
              <a:t>ASSESSMENT OF EFFICACY DATA</a:t>
            </a:r>
            <a:endParaRPr lang="en-GB" sz="1400" b="1" dirty="0">
              <a:solidFill>
                <a:schemeClr val="bg1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BCCFF3D-CF08-4948-BE4F-91E3EBD34B9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4856" y="3764454"/>
            <a:ext cx="3796145" cy="461665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1C8569F5-9566-435B-9F15-1DD19D5AE7E4}"/>
              </a:ext>
            </a:extLst>
          </p:cNvPr>
          <p:cNvSpPr txBox="1"/>
          <p:nvPr/>
        </p:nvSpPr>
        <p:spPr>
          <a:xfrm>
            <a:off x="3166642" y="3841723"/>
            <a:ext cx="36125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400" b="1" dirty="0">
                <a:solidFill>
                  <a:schemeClr val="bg1"/>
                </a:solidFill>
              </a:rPr>
              <a:t>ASSESSMENT OF RISK MANAGEMENT PLAN</a:t>
            </a:r>
            <a:endParaRPr lang="en-GB" sz="1400" b="1" dirty="0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03A3646-6A2D-4FE1-9F48-6615613E57EF}"/>
              </a:ext>
            </a:extLst>
          </p:cNvPr>
          <p:cNvSpPr txBox="1"/>
          <p:nvPr/>
        </p:nvSpPr>
        <p:spPr>
          <a:xfrm>
            <a:off x="3104730" y="1818933"/>
            <a:ext cx="37363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ZA" sz="1200" dirty="0">
                <a:solidFill>
                  <a:schemeClr val="tx1">
                    <a:lumMod val="50000"/>
                  </a:schemeClr>
                </a:solidFill>
              </a:rPr>
              <a:t>Requires an adequate number of vaccine recipients and monitoring for a sufficiently long time</a:t>
            </a:r>
            <a:endParaRPr lang="en-GB" sz="12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F5C6110-5326-4853-BCDA-13C75743FFA9}"/>
              </a:ext>
            </a:extLst>
          </p:cNvPr>
          <p:cNvSpPr txBox="1"/>
          <p:nvPr/>
        </p:nvSpPr>
        <p:spPr>
          <a:xfrm>
            <a:off x="3104730" y="2927344"/>
            <a:ext cx="37363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algn="just"/>
            <a:r>
              <a:rPr lang="en-ZA" dirty="0"/>
              <a:t>Requires robust evidence of the vaccine's ability to prevent COVID-19 infection from well-conducted phase 3 clinical trials in humans</a:t>
            </a:r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AC3A487-2DC4-4D00-A212-3BBC4C42770E}"/>
              </a:ext>
            </a:extLst>
          </p:cNvPr>
          <p:cNvSpPr txBox="1"/>
          <p:nvPr/>
        </p:nvSpPr>
        <p:spPr>
          <a:xfrm>
            <a:off x="3104730" y="4245357"/>
            <a:ext cx="37363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ZA" sz="1200" dirty="0">
                <a:solidFill>
                  <a:schemeClr val="tx1">
                    <a:lumMod val="50000"/>
                  </a:schemeClr>
                </a:solidFill>
              </a:rPr>
              <a:t>Applicant ability to record and report side effects. Assessment of efficacy against variants of concerns is critical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42850308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3914" y="1"/>
            <a:ext cx="7211144" cy="699542"/>
          </a:xfrm>
        </p:spPr>
        <p:txBody>
          <a:bodyPr>
            <a:noAutofit/>
          </a:bodyPr>
          <a:lstStyle/>
          <a:p>
            <a:r>
              <a:rPr lang="en-US" sz="2400" b="1" dirty="0">
                <a:solidFill>
                  <a:schemeClr val="accent1"/>
                </a:solidFill>
                <a:sym typeface="+mj-lt"/>
              </a:rPr>
              <a:t>Key steps of COVID-19 vaccine assessment</a:t>
            </a:r>
            <a:endParaRPr lang="en-ZA" sz="2400" b="1" dirty="0">
              <a:solidFill>
                <a:schemeClr val="accent1"/>
              </a:solidFill>
              <a:sym typeface="+mj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C0EDA9-44A7-4F8C-850F-98E6B4DE50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6384" y="788376"/>
            <a:ext cx="3792979" cy="4185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0691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lrouAt5c7s3CaVD141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s_w0rAGG7jN9mBwszBwQ"/>
</p:tagLst>
</file>

<file path=ppt/theme/theme1.xml><?xml version="1.0" encoding="utf-8"?>
<a:theme xmlns:a="http://schemas.openxmlformats.org/drawingml/2006/main" name="Office Theme">
  <a:themeElements>
    <a:clrScheme name="SAHPRA">
      <a:dk1>
        <a:srgbClr val="7B7A7B"/>
      </a:dk1>
      <a:lt1>
        <a:sysClr val="window" lastClr="FFFFFF"/>
      </a:lt1>
      <a:dk2>
        <a:srgbClr val="7B7A7B"/>
      </a:dk2>
      <a:lt2>
        <a:srgbClr val="FFFFFF"/>
      </a:lt2>
      <a:accent1>
        <a:srgbClr val="0077A0"/>
      </a:accent1>
      <a:accent2>
        <a:srgbClr val="52C2B7"/>
      </a:accent2>
      <a:accent3>
        <a:srgbClr val="C3A1CB"/>
      </a:accent3>
      <a:accent4>
        <a:srgbClr val="7B7A7B"/>
      </a:accent4>
      <a:accent5>
        <a:srgbClr val="EDC561"/>
      </a:accent5>
      <a:accent6>
        <a:srgbClr val="8FCC8B"/>
      </a:accent6>
      <a:hlink>
        <a:srgbClr val="0077A0"/>
      </a:hlink>
      <a:folHlink>
        <a:srgbClr val="C3A1CB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17443343-4C20-444C-B543-58239E38E79E}" vid="{6B6B2014-C27D-412E-9625-A1938B18251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82EA9A7925FAF40B90A2322D29D10FD" ma:contentTypeVersion="16" ma:contentTypeDescription="Create a new document." ma:contentTypeScope="" ma:versionID="9b0624571160b6d0e7174a01d268eab6">
  <xsd:schema xmlns:xsd="http://www.w3.org/2001/XMLSchema" xmlns:xs="http://www.w3.org/2001/XMLSchema" xmlns:p="http://schemas.microsoft.com/office/2006/metadata/properties" xmlns:ns1="http://schemas.microsoft.com/sharepoint/v3" xmlns:ns3="6a9a10e0-a5fe-4b89-90ab-331c43e92545" xmlns:ns4="36d8a8d2-a0c6-4850-b4c7-40d805846bfc" targetNamespace="http://schemas.microsoft.com/office/2006/metadata/properties" ma:root="true" ma:fieldsID="397a629244759e59932286a346b4a8a7" ns1:_="" ns3:_="" ns4:_="">
    <xsd:import namespace="http://schemas.microsoft.com/sharepoint/v3"/>
    <xsd:import namespace="6a9a10e0-a5fe-4b89-90ab-331c43e92545"/>
    <xsd:import namespace="36d8a8d2-a0c6-4850-b4c7-40d805846bf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1:_ip_UnifiedCompliancePolicyProperties" minOccurs="0"/>
                <xsd:element ref="ns1:_ip_UnifiedCompliancePolicyUIActio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1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2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9a10e0-a5fe-4b89-90ab-331c43e9254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3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d8a8d2-a0c6-4850-b4c7-40d805846bfc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37017F3-412F-455A-BC47-301FC60F565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B5663B9-7AC2-4947-858F-D151D262F89B}">
  <ds:schemaRefs>
    <ds:schemaRef ds:uri="http://schemas.microsoft.com/office/2006/documentManagement/types"/>
    <ds:schemaRef ds:uri="http://purl.org/dc/dcmitype/"/>
    <ds:schemaRef ds:uri="http://purl.org/dc/elements/1.1/"/>
    <ds:schemaRef ds:uri="http://schemas.microsoft.com/office/2006/metadata/properties"/>
    <ds:schemaRef ds:uri="http://purl.org/dc/terms/"/>
    <ds:schemaRef ds:uri="http://schemas.microsoft.com/sharepoint/v3"/>
    <ds:schemaRef ds:uri="http://schemas.microsoft.com/office/infopath/2007/PartnerControls"/>
    <ds:schemaRef ds:uri="http://schemas.openxmlformats.org/package/2006/metadata/core-properties"/>
    <ds:schemaRef ds:uri="36d8a8d2-a0c6-4850-b4c7-40d805846bfc"/>
    <ds:schemaRef ds:uri="6a9a10e0-a5fe-4b89-90ab-331c43e92545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2B89792-5F37-4D8C-90DE-7A4617C0D5C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6a9a10e0-a5fe-4b89-90ab-331c43e92545"/>
    <ds:schemaRef ds:uri="36d8a8d2-a0c6-4850-b4c7-40d805846bf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-15411 SAHPRA PPT Template v2</Template>
  <TotalTime>17024</TotalTime>
  <Words>1431</Words>
  <Application>Microsoft Office PowerPoint</Application>
  <PresentationFormat>On-screen Show (16:9)</PresentationFormat>
  <Paragraphs>384</Paragraphs>
  <Slides>2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4" baseType="lpstr">
      <vt:lpstr>Arial</vt:lpstr>
      <vt:lpstr>Calibri</vt:lpstr>
      <vt:lpstr>Times New Roman</vt:lpstr>
      <vt:lpstr>Wingdings</vt:lpstr>
      <vt:lpstr>Office Theme</vt:lpstr>
      <vt:lpstr>think-cell Slide</vt:lpstr>
      <vt:lpstr> SAHPRA update on COVID-19 vaccines  Dr B Semete-Makokotlela  SAHPRA CEO  1 September 2021 </vt:lpstr>
      <vt:lpstr>Contents</vt:lpstr>
      <vt:lpstr>Vaccines authorization process   </vt:lpstr>
      <vt:lpstr>Key steps of COVID-19 vaccine assessment</vt:lpstr>
      <vt:lpstr>PowerPoint Presentation</vt:lpstr>
      <vt:lpstr>PowerPoint Presentation</vt:lpstr>
      <vt:lpstr>Key steps of COVID-19 vaccine assessment</vt:lpstr>
      <vt:lpstr>PowerPoint Presentation</vt:lpstr>
      <vt:lpstr>Key steps of COVID-19 vaccine assessment</vt:lpstr>
      <vt:lpstr>COVID-19 vaccines updates  </vt:lpstr>
      <vt:lpstr>COVID-19 Vaccine Applications and approvals</vt:lpstr>
      <vt:lpstr>Status of COVID-19 vaccines within WHO EUL/PQ Evaluation process</vt:lpstr>
      <vt:lpstr>Status of COVID-19 vaccines within WHO EUL/PQ Evaluation process </vt:lpstr>
      <vt:lpstr>Pre-Submission Meetings between SAHPRA and Applicants</vt:lpstr>
      <vt:lpstr>Pre-Submission Meetings between SAHPRA and Applicants cont…</vt:lpstr>
      <vt:lpstr>SAHPRA COVID-19 Vaccine Applications and approvals</vt:lpstr>
      <vt:lpstr>SAHPRA COVID-19 Vaccine Applications and approvals</vt:lpstr>
      <vt:lpstr>Vaccine effectiveness </vt:lpstr>
      <vt:lpstr>COVID-19 clinical trials update worldwide   </vt:lpstr>
      <vt:lpstr>WHO COVID-19 vaccine tracker and landscape </vt:lpstr>
      <vt:lpstr>COVID-19 safety report </vt:lpstr>
      <vt:lpstr>The overall safety monitoring of vaccines – Reporting </vt:lpstr>
      <vt:lpstr>The overall safety monitoring of vaccines</vt:lpstr>
      <vt:lpstr>AEFI Data Analysis</vt:lpstr>
      <vt:lpstr>AEFI Data Analysis</vt:lpstr>
      <vt:lpstr>AEFI Data Analysis</vt:lpstr>
      <vt:lpstr>NISEC Causality Assessment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phney Fafudi</dc:creator>
  <cp:lastModifiedBy>Vuyokazi Majalamba</cp:lastModifiedBy>
  <cp:revision>322</cp:revision>
  <dcterms:created xsi:type="dcterms:W3CDTF">2020-01-22T10:35:51Z</dcterms:created>
  <dcterms:modified xsi:type="dcterms:W3CDTF">2021-08-31T10:41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82EA9A7925FAF40B90A2322D29D10FD</vt:lpwstr>
  </property>
</Properties>
</file>